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7"/>
  </p:notesMasterIdLst>
  <p:sldIdLst>
    <p:sldId id="1863" r:id="rId2"/>
    <p:sldId id="1870" r:id="rId3"/>
    <p:sldId id="2447" r:id="rId4"/>
    <p:sldId id="2076138705" r:id="rId5"/>
    <p:sldId id="2076138706" r:id="rId6"/>
    <p:sldId id="2076138709" r:id="rId7"/>
    <p:sldId id="384" r:id="rId8"/>
    <p:sldId id="2182" r:id="rId9"/>
    <p:sldId id="2076138643" r:id="rId10"/>
    <p:sldId id="2076138707" r:id="rId11"/>
    <p:sldId id="273" r:id="rId12"/>
    <p:sldId id="282" r:id="rId13"/>
    <p:sldId id="4478" r:id="rId14"/>
    <p:sldId id="596" r:id="rId15"/>
    <p:sldId id="617" r:id="rId16"/>
    <p:sldId id="616" r:id="rId17"/>
    <p:sldId id="2076137189" r:id="rId18"/>
    <p:sldId id="11159" r:id="rId19"/>
    <p:sldId id="2076138660" r:id="rId20"/>
    <p:sldId id="302" r:id="rId21"/>
    <p:sldId id="306" r:id="rId22"/>
    <p:sldId id="2076138697" r:id="rId23"/>
    <p:sldId id="2076138700" r:id="rId24"/>
    <p:sldId id="2076138701" r:id="rId25"/>
    <p:sldId id="2076138703" r:id="rId26"/>
    <p:sldId id="2076137328" r:id="rId27"/>
    <p:sldId id="2076137340" r:id="rId28"/>
    <p:sldId id="266" r:id="rId29"/>
    <p:sldId id="2076138684" r:id="rId30"/>
    <p:sldId id="2076138692" r:id="rId31"/>
    <p:sldId id="309" r:id="rId32"/>
    <p:sldId id="532" r:id="rId33"/>
    <p:sldId id="534" r:id="rId34"/>
    <p:sldId id="535" r:id="rId35"/>
    <p:sldId id="536" r:id="rId36"/>
    <p:sldId id="537" r:id="rId37"/>
    <p:sldId id="265" r:id="rId38"/>
    <p:sldId id="2076138711" r:id="rId39"/>
    <p:sldId id="2076138715" r:id="rId40"/>
    <p:sldId id="2076138712" r:id="rId41"/>
    <p:sldId id="2076138713" r:id="rId42"/>
    <p:sldId id="2076138714" r:id="rId43"/>
    <p:sldId id="2076138708" r:id="rId44"/>
    <p:sldId id="2076138710" r:id="rId45"/>
    <p:sldId id="1997" r:id="rId46"/>
  </p:sldIdLst>
  <p:sldSz cx="12192000" cy="6858000"/>
  <p:notesSz cx="6858000" cy="9144000"/>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0565B431-ABBC-4AFC-AC1B-0A02054E486F}">
          <p14:sldIdLst>
            <p14:sldId id="1863"/>
            <p14:sldId id="1870"/>
            <p14:sldId id="2447"/>
            <p14:sldId id="2076138705"/>
            <p14:sldId id="2076138706"/>
            <p14:sldId id="2076138709"/>
          </p14:sldIdLst>
        </p14:section>
        <p14:section name="Power Platform" id="{8F7FDBD9-81BB-418B-A9B2-C016ABDCBCC9}">
          <p14:sldIdLst>
            <p14:sldId id="384"/>
            <p14:sldId id="2182"/>
            <p14:sldId id="2076138643"/>
            <p14:sldId id="2076138707"/>
            <p14:sldId id="273"/>
            <p14:sldId id="282"/>
            <p14:sldId id="4478"/>
            <p14:sldId id="596"/>
            <p14:sldId id="617"/>
            <p14:sldId id="616"/>
          </p14:sldIdLst>
        </p14:section>
        <p14:section name="Power Automate" id="{7891D0FC-164F-42E3-8892-C8202F174197}">
          <p14:sldIdLst>
            <p14:sldId id="2076137189"/>
            <p14:sldId id="11159"/>
            <p14:sldId id="2076138660"/>
            <p14:sldId id="302"/>
            <p14:sldId id="306"/>
            <p14:sldId id="2076138697"/>
            <p14:sldId id="2076138700"/>
            <p14:sldId id="2076138701"/>
            <p14:sldId id="2076138703"/>
            <p14:sldId id="2076137328"/>
            <p14:sldId id="2076137340"/>
            <p14:sldId id="266"/>
            <p14:sldId id="2076138684"/>
            <p14:sldId id="2076138692"/>
          </p14:sldIdLst>
        </p14:section>
        <p14:section name="PVA" id="{3080FD5A-81B2-467F-B5BB-CECDDBEC54FE}">
          <p14:sldIdLst>
            <p14:sldId id="309"/>
          </p14:sldIdLst>
        </p14:section>
        <p14:section name="RPA" id="{09CB7E10-66B3-4019-B755-0D100F9D0ACD}">
          <p14:sldIdLst>
            <p14:sldId id="532"/>
            <p14:sldId id="534"/>
            <p14:sldId id="535"/>
            <p14:sldId id="536"/>
            <p14:sldId id="537"/>
          </p14:sldIdLst>
        </p14:section>
        <p14:section name="Cognitive Services" id="{FB4EBFAD-100C-416E-A29E-6B7282727EF4}">
          <p14:sldIdLst>
            <p14:sldId id="265"/>
          </p14:sldIdLst>
        </p14:section>
        <p14:section name="Demos" id="{596F67D6-F6C8-492C-A2E7-E7CD2E4769F4}">
          <p14:sldIdLst>
            <p14:sldId id="2076138711"/>
            <p14:sldId id="2076138715"/>
            <p14:sldId id="2076138712"/>
            <p14:sldId id="2076138713"/>
            <p14:sldId id="2076138714"/>
            <p14:sldId id="2076138708"/>
            <p14:sldId id="2076138710"/>
          </p14:sldIdLst>
        </p14:section>
        <p14:section name="Wrap up" id="{3712C255-B3F4-4681-89D1-C133A978FCC6}">
          <p14:sldIdLst>
            <p14:sldId id="19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8217A"/>
    <a:srgbClr val="59B4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4A150A-92A7-4B11-900B-B34F0655160D}" v="187" dt="2020-09-30T07:05:59.0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79412" autoAdjust="0"/>
  </p:normalViewPr>
  <p:slideViewPr>
    <p:cSldViewPr snapToGrid="0">
      <p:cViewPr varScale="1">
        <p:scale>
          <a:sx n="99" d="100"/>
          <a:sy n="99" d="100"/>
        </p:scale>
        <p:origin x="1325"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dert Grootenboer" userId="3fe8758b2c2b58d2" providerId="LiveId" clId="{63338091-D22A-4471-A724-48847A3F5740}"/>
    <pc:docChg chg="undo redo custSel mod addSld delSld modSld sldOrd addSection modSection">
      <pc:chgData name="Eldert Grootenboer" userId="3fe8758b2c2b58d2" providerId="LiveId" clId="{63338091-D22A-4471-A724-48847A3F5740}" dt="2020-08-30T08:18:13.623" v="2091"/>
      <pc:docMkLst>
        <pc:docMk/>
      </pc:docMkLst>
      <pc:sldChg chg="addSp delSp modSp mod setBg modNotesTx">
        <pc:chgData name="Eldert Grootenboer" userId="3fe8758b2c2b58d2" providerId="LiveId" clId="{63338091-D22A-4471-A724-48847A3F5740}" dt="2020-08-29T15:14:08.836" v="1657"/>
        <pc:sldMkLst>
          <pc:docMk/>
          <pc:sldMk cId="3433781766" sldId="259"/>
        </pc:sldMkLst>
        <pc:spChg chg="mod">
          <ac:chgData name="Eldert Grootenboer" userId="3fe8758b2c2b58d2" providerId="LiveId" clId="{63338091-D22A-4471-A724-48847A3F5740}" dt="2020-08-29T15:00:09.656" v="1571" actId="26606"/>
          <ac:spMkLst>
            <pc:docMk/>
            <pc:sldMk cId="3433781766" sldId="259"/>
            <ac:spMk id="2" creationId="{19C96D9A-AC80-754C-96F0-C49E3E97C4A5}"/>
          </ac:spMkLst>
        </pc:spChg>
        <pc:spChg chg="add del mod">
          <ac:chgData name="Eldert Grootenboer" userId="3fe8758b2c2b58d2" providerId="LiveId" clId="{63338091-D22A-4471-A724-48847A3F5740}" dt="2020-08-29T15:00:17.325" v="1576"/>
          <ac:spMkLst>
            <pc:docMk/>
            <pc:sldMk cId="3433781766" sldId="259"/>
            <ac:spMk id="4" creationId="{86FFA884-EBCE-4688-838D-3753B9376A85}"/>
          </ac:spMkLst>
        </pc:spChg>
        <pc:spChg chg="add del">
          <ac:chgData name="Eldert Grootenboer" userId="3fe8758b2c2b58d2" providerId="LiveId" clId="{63338091-D22A-4471-A724-48847A3F5740}" dt="2020-08-29T14:56:58.867" v="1564" actId="26606"/>
          <ac:spMkLst>
            <pc:docMk/>
            <pc:sldMk cId="3433781766" sldId="259"/>
            <ac:spMk id="10" creationId="{2F56F8EA-3356-4455-9899-320874F6E465}"/>
          </ac:spMkLst>
        </pc:spChg>
        <pc:graphicFrameChg chg="add del">
          <ac:chgData name="Eldert Grootenboer" userId="3fe8758b2c2b58d2" providerId="LiveId" clId="{63338091-D22A-4471-A724-48847A3F5740}" dt="2020-08-29T14:56:58.867" v="1564" actId="26606"/>
          <ac:graphicFrameMkLst>
            <pc:docMk/>
            <pc:sldMk cId="3433781766" sldId="259"/>
            <ac:graphicFrameMk id="6" creationId="{5B298B9B-2CCE-4C3E-B765-20F552A64094}"/>
          </ac:graphicFrameMkLst>
        </pc:graphicFrameChg>
        <pc:graphicFrameChg chg="add del">
          <ac:chgData name="Eldert Grootenboer" userId="3fe8758b2c2b58d2" providerId="LiveId" clId="{63338091-D22A-4471-A724-48847A3F5740}" dt="2020-08-29T15:00:09.656" v="1571" actId="26606"/>
          <ac:graphicFrameMkLst>
            <pc:docMk/>
            <pc:sldMk cId="3433781766" sldId="259"/>
            <ac:graphicFrameMk id="7" creationId="{2D2FF077-66CE-4F1C-AF7A-0F1F8C542A1A}"/>
          </ac:graphicFrameMkLst>
        </pc:graphicFrameChg>
        <pc:graphicFrameChg chg="add del mod">
          <ac:chgData name="Eldert Grootenboer" userId="3fe8758b2c2b58d2" providerId="LiveId" clId="{63338091-D22A-4471-A724-48847A3F5740}" dt="2020-08-29T14:59:53.997" v="1568"/>
          <ac:graphicFrameMkLst>
            <pc:docMk/>
            <pc:sldMk cId="3433781766" sldId="259"/>
            <ac:graphicFrameMk id="8" creationId="{F926CCE2-180C-48D4-B60F-F93C51AD02F7}"/>
          </ac:graphicFrameMkLst>
        </pc:graphicFrameChg>
        <pc:graphicFrameChg chg="add del mod">
          <ac:chgData name="Eldert Grootenboer" userId="3fe8758b2c2b58d2" providerId="LiveId" clId="{63338091-D22A-4471-A724-48847A3F5740}" dt="2020-08-29T15:00:15.174" v="1573"/>
          <ac:graphicFrameMkLst>
            <pc:docMk/>
            <pc:sldMk cId="3433781766" sldId="259"/>
            <ac:graphicFrameMk id="9" creationId="{CA89C654-8688-4CA1-B41B-68F4550FE794}"/>
          </ac:graphicFrameMkLst>
        </pc:graphicFrameChg>
        <pc:graphicFrameChg chg="add mod">
          <ac:chgData name="Eldert Grootenboer" userId="3fe8758b2c2b58d2" providerId="LiveId" clId="{63338091-D22A-4471-A724-48847A3F5740}" dt="2020-08-29T15:00:40.754" v="1578" actId="2085"/>
          <ac:graphicFrameMkLst>
            <pc:docMk/>
            <pc:sldMk cId="3433781766" sldId="259"/>
            <ac:graphicFrameMk id="11" creationId="{5E180DA8-0255-4F7E-884E-D0CAB676C2E0}"/>
          </ac:graphicFrameMkLst>
        </pc:graphicFrameChg>
      </pc:sldChg>
      <pc:sldChg chg="add">
        <pc:chgData name="Eldert Grootenboer" userId="3fe8758b2c2b58d2" providerId="LiveId" clId="{63338091-D22A-4471-A724-48847A3F5740}" dt="2020-08-29T14:13:44.140" v="632"/>
        <pc:sldMkLst>
          <pc:docMk/>
          <pc:sldMk cId="1123346746" sldId="1903"/>
        </pc:sldMkLst>
      </pc:sldChg>
      <pc:sldChg chg="add">
        <pc:chgData name="Eldert Grootenboer" userId="3fe8758b2c2b58d2" providerId="LiveId" clId="{63338091-D22A-4471-A724-48847A3F5740}" dt="2020-08-29T15:11:16.620" v="1649"/>
        <pc:sldMkLst>
          <pc:docMk/>
          <pc:sldMk cId="891752123" sldId="1997"/>
        </pc:sldMkLst>
      </pc:sldChg>
      <pc:sldChg chg="modSp add del mod addAnim delAnim">
        <pc:chgData name="Eldert Grootenboer" userId="3fe8758b2c2b58d2" providerId="LiveId" clId="{63338091-D22A-4471-A724-48847A3F5740}" dt="2020-08-29T14:32:20.352" v="1127" actId="47"/>
        <pc:sldMkLst>
          <pc:docMk/>
          <pc:sldMk cId="899072372" sldId="2440"/>
        </pc:sldMkLst>
        <pc:spChg chg="mod">
          <ac:chgData name="Eldert Grootenboer" userId="3fe8758b2c2b58d2" providerId="LiveId" clId="{63338091-D22A-4471-A724-48847A3F5740}" dt="2020-08-29T14:30:42.374" v="1120" actId="21"/>
          <ac:spMkLst>
            <pc:docMk/>
            <pc:sldMk cId="899072372" sldId="2440"/>
            <ac:spMk id="40" creationId="{F384B5DF-43DF-E740-AE61-A3009B742B5E}"/>
          </ac:spMkLst>
        </pc:spChg>
      </pc:sldChg>
      <pc:sldChg chg="addSp delSp modSp add mod ord setBg modClrScheme chgLayout">
        <pc:chgData name="Eldert Grootenboer" userId="3fe8758b2c2b58d2" providerId="LiveId" clId="{63338091-D22A-4471-A724-48847A3F5740}" dt="2020-08-29T14:40:29.760" v="1248"/>
        <pc:sldMkLst>
          <pc:docMk/>
          <pc:sldMk cId="4102214970" sldId="2447"/>
        </pc:sldMkLst>
        <pc:spChg chg="mod ord">
          <ac:chgData name="Eldert Grootenboer" userId="3fe8758b2c2b58d2" providerId="LiveId" clId="{63338091-D22A-4471-A724-48847A3F5740}" dt="2020-08-29T14:36:39.214" v="1217" actId="26606"/>
          <ac:spMkLst>
            <pc:docMk/>
            <pc:sldMk cId="4102214970" sldId="2447"/>
            <ac:spMk id="2" creationId="{00000000-0000-0000-0000-000000000000}"/>
          </ac:spMkLst>
        </pc:spChg>
        <pc:spChg chg="add del mod ord">
          <ac:chgData name="Eldert Grootenboer" userId="3fe8758b2c2b58d2" providerId="LiveId" clId="{63338091-D22A-4471-A724-48847A3F5740}" dt="2020-08-29T14:35:49.181" v="1211"/>
          <ac:spMkLst>
            <pc:docMk/>
            <pc:sldMk cId="4102214970" sldId="2447"/>
            <ac:spMk id="3" creationId="{00000000-0000-0000-0000-000000000000}"/>
          </ac:spMkLst>
        </pc:spChg>
        <pc:spChg chg="add del mod">
          <ac:chgData name="Eldert Grootenboer" userId="3fe8758b2c2b58d2" providerId="LiveId" clId="{63338091-D22A-4471-A724-48847A3F5740}" dt="2020-08-29T14:33:08.875" v="1179"/>
          <ac:spMkLst>
            <pc:docMk/>
            <pc:sldMk cId="4102214970" sldId="2447"/>
            <ac:spMk id="4" creationId="{8F093099-EB8E-4592-BD13-907095F054D2}"/>
          </ac:spMkLst>
        </pc:spChg>
        <pc:spChg chg="add del mod">
          <ac:chgData name="Eldert Grootenboer" userId="3fe8758b2c2b58d2" providerId="LiveId" clId="{63338091-D22A-4471-A724-48847A3F5740}" dt="2020-08-29T14:33:08.875" v="1179"/>
          <ac:spMkLst>
            <pc:docMk/>
            <pc:sldMk cId="4102214970" sldId="2447"/>
            <ac:spMk id="5" creationId="{B681996E-38F1-4F6F-9B5E-4F7B50F739C4}"/>
          </ac:spMkLst>
        </pc:spChg>
        <pc:spChg chg="add del mod">
          <ac:chgData name="Eldert Grootenboer" userId="3fe8758b2c2b58d2" providerId="LiveId" clId="{63338091-D22A-4471-A724-48847A3F5740}" dt="2020-08-29T14:36:10.039" v="1215"/>
          <ac:spMkLst>
            <pc:docMk/>
            <pc:sldMk cId="4102214970" sldId="2447"/>
            <ac:spMk id="8" creationId="{C2DE8139-E5B8-4B18-858A-EE80ACEA867E}"/>
          </ac:spMkLst>
        </pc:spChg>
        <pc:spChg chg="add del mod">
          <ac:chgData name="Eldert Grootenboer" userId="3fe8758b2c2b58d2" providerId="LiveId" clId="{63338091-D22A-4471-A724-48847A3F5740}" dt="2020-08-29T14:36:10.039" v="1215"/>
          <ac:spMkLst>
            <pc:docMk/>
            <pc:sldMk cId="4102214970" sldId="2447"/>
            <ac:spMk id="10" creationId="{DE1FAFC4-5A76-47C4-B45E-65A81AFD449E}"/>
          </ac:spMkLst>
        </pc:spChg>
        <pc:spChg chg="add del">
          <ac:chgData name="Eldert Grootenboer" userId="3fe8758b2c2b58d2" providerId="LiveId" clId="{63338091-D22A-4471-A724-48847A3F5740}" dt="2020-08-29T14:36:39.214" v="1217" actId="26606"/>
          <ac:spMkLst>
            <pc:docMk/>
            <pc:sldMk cId="4102214970" sldId="2447"/>
            <ac:spMk id="14" creationId="{955A2079-FA98-4876-80F0-72364A7D2EA4}"/>
          </ac:spMkLst>
        </pc:spChg>
        <pc:graphicFrameChg chg="add del">
          <ac:chgData name="Eldert Grootenboer" userId="3fe8758b2c2b58d2" providerId="LiveId" clId="{63338091-D22A-4471-A724-48847A3F5740}" dt="2020-08-29T14:35:46.165" v="1209" actId="26606"/>
          <ac:graphicFrameMkLst>
            <pc:docMk/>
            <pc:sldMk cId="4102214970" sldId="2447"/>
            <ac:graphicFrameMk id="6" creationId="{7627A033-0088-42FD-A6A6-9115A679D1C6}"/>
          </ac:graphicFrameMkLst>
        </pc:graphicFrameChg>
        <pc:graphicFrameChg chg="add del mod">
          <ac:chgData name="Eldert Grootenboer" userId="3fe8758b2c2b58d2" providerId="LiveId" clId="{63338091-D22A-4471-A724-48847A3F5740}" dt="2020-08-29T14:35:37.191" v="1206"/>
          <ac:graphicFrameMkLst>
            <pc:docMk/>
            <pc:sldMk cId="4102214970" sldId="2447"/>
            <ac:graphicFrameMk id="7" creationId="{8D329B63-1B81-4F52-8364-460DB8C329FB}"/>
          </ac:graphicFrameMkLst>
        </pc:graphicFrameChg>
        <pc:graphicFrameChg chg="add mod modGraphic">
          <ac:chgData name="Eldert Grootenboer" userId="3fe8758b2c2b58d2" providerId="LiveId" clId="{63338091-D22A-4471-A724-48847A3F5740}" dt="2020-08-29T14:39:41.352" v="1245" actId="2085"/>
          <ac:graphicFrameMkLst>
            <pc:docMk/>
            <pc:sldMk cId="4102214970" sldId="2447"/>
            <ac:graphicFrameMk id="9" creationId="{656B2E98-E922-470E-85A5-4A5392B97242}"/>
          </ac:graphicFrameMkLst>
        </pc:graphicFrameChg>
        <pc:picChg chg="del">
          <ac:chgData name="Eldert Grootenboer" userId="3fe8758b2c2b58d2" providerId="LiveId" clId="{63338091-D22A-4471-A724-48847A3F5740}" dt="2020-08-29T14:32:24.746" v="1128" actId="478"/>
          <ac:picMkLst>
            <pc:docMk/>
            <pc:sldMk cId="4102214970" sldId="2447"/>
            <ac:picMk id="11" creationId="{69AF06D6-FA36-FC43-A462-0486A100A0D3}"/>
          </ac:picMkLst>
        </pc:picChg>
      </pc:sldChg>
      <pc:sldChg chg="addSp delSp modSp mod modShow">
        <pc:chgData name="Eldert Grootenboer" userId="3fe8758b2c2b58d2" providerId="LiveId" clId="{63338091-D22A-4471-A724-48847A3F5740}" dt="2020-08-29T15:01:30.106" v="1581"/>
        <pc:sldMkLst>
          <pc:docMk/>
          <pc:sldMk cId="1371537393" sldId="2466"/>
        </pc:sldMkLst>
        <pc:spChg chg="mod">
          <ac:chgData name="Eldert Grootenboer" userId="3fe8758b2c2b58d2" providerId="LiveId" clId="{63338091-D22A-4471-A724-48847A3F5740}" dt="2020-08-29T15:01:30.106" v="1581"/>
          <ac:spMkLst>
            <pc:docMk/>
            <pc:sldMk cId="1371537393" sldId="2466"/>
            <ac:spMk id="2" creationId="{B8ABCF87-7839-994F-A1A7-69F5E4F78BCA}"/>
          </ac:spMkLst>
        </pc:spChg>
        <pc:spChg chg="add del mod">
          <ac:chgData name="Eldert Grootenboer" userId="3fe8758b2c2b58d2" providerId="LiveId" clId="{63338091-D22A-4471-A724-48847A3F5740}" dt="2020-08-29T15:01:30.106" v="1581"/>
          <ac:spMkLst>
            <pc:docMk/>
            <pc:sldMk cId="1371537393" sldId="2466"/>
            <ac:spMk id="4" creationId="{E471A89E-F188-4822-AFDE-F82A80689CAD}"/>
          </ac:spMkLst>
        </pc:spChg>
        <pc:graphicFrameChg chg="modGraphic">
          <ac:chgData name="Eldert Grootenboer" userId="3fe8758b2c2b58d2" providerId="LiveId" clId="{63338091-D22A-4471-A724-48847A3F5740}" dt="2020-08-29T14:56:36.484" v="1562" actId="207"/>
          <ac:graphicFrameMkLst>
            <pc:docMk/>
            <pc:sldMk cId="1371537393" sldId="2466"/>
            <ac:graphicFrameMk id="3" creationId="{EF1BE059-6E56-4A40-8DFC-0364A3F897A1}"/>
          </ac:graphicFrameMkLst>
        </pc:graphicFrameChg>
      </pc:sldChg>
      <pc:sldChg chg="addSp delSp modSp new del mod modClrScheme chgLayout">
        <pc:chgData name="Eldert Grootenboer" userId="3fe8758b2c2b58d2" providerId="LiveId" clId="{63338091-D22A-4471-A724-48847A3F5740}" dt="2020-08-29T13:44:12.080" v="205" actId="47"/>
        <pc:sldMkLst>
          <pc:docMk/>
          <pc:sldMk cId="231460553" sldId="2467"/>
        </pc:sldMkLst>
        <pc:spChg chg="del mod ord">
          <ac:chgData name="Eldert Grootenboer" userId="3fe8758b2c2b58d2" providerId="LiveId" clId="{63338091-D22A-4471-A724-48847A3F5740}" dt="2020-08-29T13:23:51.163" v="1" actId="700"/>
          <ac:spMkLst>
            <pc:docMk/>
            <pc:sldMk cId="231460553" sldId="2467"/>
            <ac:spMk id="2" creationId="{79427E6C-EE76-4597-853A-358CEBD46BC6}"/>
          </ac:spMkLst>
        </pc:spChg>
        <pc:spChg chg="add del mod ord">
          <ac:chgData name="Eldert Grootenboer" userId="3fe8758b2c2b58d2" providerId="LiveId" clId="{63338091-D22A-4471-A724-48847A3F5740}" dt="2020-08-29T13:25:01.259" v="6"/>
          <ac:spMkLst>
            <pc:docMk/>
            <pc:sldMk cId="231460553" sldId="2467"/>
            <ac:spMk id="3" creationId="{725737B4-5F53-4088-AA98-CD740A07FC2E}"/>
          </ac:spMkLst>
        </pc:spChg>
        <pc:spChg chg="add del mod ord">
          <ac:chgData name="Eldert Grootenboer" userId="3fe8758b2c2b58d2" providerId="LiveId" clId="{63338091-D22A-4471-A724-48847A3F5740}" dt="2020-08-29T13:38:49.471" v="201" actId="404"/>
          <ac:spMkLst>
            <pc:docMk/>
            <pc:sldMk cId="231460553" sldId="2467"/>
            <ac:spMk id="4" creationId="{44882D54-6628-4034-8FB2-53451B1C9923}"/>
          </ac:spMkLst>
        </pc:spChg>
        <pc:spChg chg="add del mod">
          <ac:chgData name="Eldert Grootenboer" userId="3fe8758b2c2b58d2" providerId="LiveId" clId="{63338091-D22A-4471-A724-48847A3F5740}" dt="2020-08-29T13:25:01.259" v="6"/>
          <ac:spMkLst>
            <pc:docMk/>
            <pc:sldMk cId="231460553" sldId="2467"/>
            <ac:spMk id="5" creationId="{995DCD91-BE80-4262-B681-DC26EBB34E1A}"/>
          </ac:spMkLst>
        </pc:spChg>
        <pc:spChg chg="add mod">
          <ac:chgData name="Eldert Grootenboer" userId="3fe8758b2c2b58d2" providerId="LiveId" clId="{63338091-D22A-4471-A724-48847A3F5740}" dt="2020-08-29T13:33:52.484" v="168" actId="6549"/>
          <ac:spMkLst>
            <pc:docMk/>
            <pc:sldMk cId="231460553" sldId="2467"/>
            <ac:spMk id="6" creationId="{341C59DD-1CEE-47E7-9A09-51E9B4053D34}"/>
          </ac:spMkLst>
        </pc:spChg>
        <pc:picChg chg="add del mod">
          <ac:chgData name="Eldert Grootenboer" userId="3fe8758b2c2b58d2" providerId="LiveId" clId="{63338091-D22A-4471-A724-48847A3F5740}" dt="2020-08-29T13:23:55.699" v="3"/>
          <ac:picMkLst>
            <pc:docMk/>
            <pc:sldMk cId="231460553" sldId="2467"/>
            <ac:picMk id="1026" creationId="{9EB7A572-7BFC-4B4F-9333-49C7C3A5415E}"/>
          </ac:picMkLst>
        </pc:picChg>
      </pc:sldChg>
      <pc:sldChg chg="addSp delSp modSp new mod setBg">
        <pc:chgData name="Eldert Grootenboer" userId="3fe8758b2c2b58d2" providerId="LiveId" clId="{63338091-D22A-4471-A724-48847A3F5740}" dt="2020-08-29T15:31:54.845" v="1965" actId="12100"/>
        <pc:sldMkLst>
          <pc:docMk/>
          <pc:sldMk cId="2442968695" sldId="2468"/>
        </pc:sldMkLst>
        <pc:spChg chg="mod">
          <ac:chgData name="Eldert Grootenboer" userId="3fe8758b2c2b58d2" providerId="LiveId" clId="{63338091-D22A-4471-A724-48847A3F5740}" dt="2020-08-29T14:43:23.770" v="1307" actId="26606"/>
          <ac:spMkLst>
            <pc:docMk/>
            <pc:sldMk cId="2442968695" sldId="2468"/>
            <ac:spMk id="2" creationId="{E090EC2D-8049-4E25-9D0A-E3A860A87847}"/>
          </ac:spMkLst>
        </pc:spChg>
        <pc:spChg chg="del mod">
          <ac:chgData name="Eldert Grootenboer" userId="3fe8758b2c2b58d2" providerId="LiveId" clId="{63338091-D22A-4471-A724-48847A3F5740}" dt="2020-08-29T13:31:51.040" v="116"/>
          <ac:spMkLst>
            <pc:docMk/>
            <pc:sldMk cId="2442968695" sldId="2468"/>
            <ac:spMk id="3" creationId="{311EBF86-96FD-4B53-86DD-9E8773DA4243}"/>
          </ac:spMkLst>
        </pc:spChg>
        <pc:spChg chg="add del mod">
          <ac:chgData name="Eldert Grootenboer" userId="3fe8758b2c2b58d2" providerId="LiveId" clId="{63338091-D22A-4471-A724-48847A3F5740}" dt="2020-08-29T14:43:29.262" v="1309"/>
          <ac:spMkLst>
            <pc:docMk/>
            <pc:sldMk cId="2442968695" sldId="2468"/>
            <ac:spMk id="6" creationId="{5404BF31-1879-4254-A675-45469283CDE1}"/>
          </ac:spMkLst>
        </pc:spChg>
        <pc:spChg chg="add del">
          <ac:chgData name="Eldert Grootenboer" userId="3fe8758b2c2b58d2" providerId="LiveId" clId="{63338091-D22A-4471-A724-48847A3F5740}" dt="2020-08-29T14:43:23.770" v="1307" actId="26606"/>
          <ac:spMkLst>
            <pc:docMk/>
            <pc:sldMk cId="2442968695" sldId="2468"/>
            <ac:spMk id="9" creationId="{6C4028FD-8BAA-4A19-BFDE-594D991B7552}"/>
          </ac:spMkLst>
        </pc:spChg>
        <pc:graphicFrameChg chg="add del mod modGraphic">
          <ac:chgData name="Eldert Grootenboer" userId="3fe8758b2c2b58d2" providerId="LiveId" clId="{63338091-D22A-4471-A724-48847A3F5740}" dt="2020-08-29T14:43:27.285" v="1308" actId="478"/>
          <ac:graphicFrameMkLst>
            <pc:docMk/>
            <pc:sldMk cId="2442968695" sldId="2468"/>
            <ac:graphicFrameMk id="4" creationId="{20E7DA3C-A996-41E7-81DC-4A8B88B0ACDB}"/>
          </ac:graphicFrameMkLst>
        </pc:graphicFrameChg>
        <pc:graphicFrameChg chg="add mod">
          <ac:chgData name="Eldert Grootenboer" userId="3fe8758b2c2b58d2" providerId="LiveId" clId="{63338091-D22A-4471-A724-48847A3F5740}" dt="2020-08-29T15:31:54.845" v="1965" actId="12100"/>
          <ac:graphicFrameMkLst>
            <pc:docMk/>
            <pc:sldMk cId="2442968695" sldId="2468"/>
            <ac:graphicFrameMk id="8" creationId="{34B7AF18-9348-4B92-BFFC-3ACD20C781D0}"/>
          </ac:graphicFrameMkLst>
        </pc:graphicFrameChg>
      </pc:sldChg>
      <pc:sldChg chg="addSp delSp modSp add del mod setBg setClrOvrMap">
        <pc:chgData name="Eldert Grootenboer" userId="3fe8758b2c2b58d2" providerId="LiveId" clId="{63338091-D22A-4471-A724-48847A3F5740}" dt="2020-08-29T14:44:09.431" v="1312" actId="47"/>
        <pc:sldMkLst>
          <pc:docMk/>
          <pc:sldMk cId="1588023152" sldId="2469"/>
        </pc:sldMkLst>
        <pc:spChg chg="mod">
          <ac:chgData name="Eldert Grootenboer" userId="3fe8758b2c2b58d2" providerId="LiveId" clId="{63338091-D22A-4471-A724-48847A3F5740}" dt="2020-08-29T13:31:33.760" v="113" actId="26606"/>
          <ac:spMkLst>
            <pc:docMk/>
            <pc:sldMk cId="1588023152" sldId="2469"/>
            <ac:spMk id="2" creationId="{E090EC2D-8049-4E25-9D0A-E3A860A87847}"/>
          </ac:spMkLst>
        </pc:spChg>
        <pc:spChg chg="del">
          <ac:chgData name="Eldert Grootenboer" userId="3fe8758b2c2b58d2" providerId="LiveId" clId="{63338091-D22A-4471-A724-48847A3F5740}" dt="2020-08-29T13:31:33.760" v="113" actId="26606"/>
          <ac:spMkLst>
            <pc:docMk/>
            <pc:sldMk cId="1588023152" sldId="2469"/>
            <ac:spMk id="3" creationId="{311EBF86-96FD-4B53-86DD-9E8773DA4243}"/>
          </ac:spMkLst>
        </pc:spChg>
        <pc:spChg chg="add">
          <ac:chgData name="Eldert Grootenboer" userId="3fe8758b2c2b58d2" providerId="LiveId" clId="{63338091-D22A-4471-A724-48847A3F5740}" dt="2020-08-29T13:31:33.760" v="113" actId="26606"/>
          <ac:spMkLst>
            <pc:docMk/>
            <pc:sldMk cId="1588023152" sldId="2469"/>
            <ac:spMk id="10" creationId="{9228552E-C8B1-4A80-8448-0787CE0FC704}"/>
          </ac:spMkLst>
        </pc:spChg>
        <pc:graphicFrameChg chg="add">
          <ac:chgData name="Eldert Grootenboer" userId="3fe8758b2c2b58d2" providerId="LiveId" clId="{63338091-D22A-4471-A724-48847A3F5740}" dt="2020-08-29T13:31:33.760" v="113" actId="26606"/>
          <ac:graphicFrameMkLst>
            <pc:docMk/>
            <pc:sldMk cId="1588023152" sldId="2469"/>
            <ac:graphicFrameMk id="5" creationId="{617B3CCF-2659-419C-BFA8-FECC9BAD258A}"/>
          </ac:graphicFrameMkLst>
        </pc:graphicFrameChg>
        <pc:picChg chg="add">
          <ac:chgData name="Eldert Grootenboer" userId="3fe8758b2c2b58d2" providerId="LiveId" clId="{63338091-D22A-4471-A724-48847A3F5740}" dt="2020-08-29T13:31:33.760" v="113" actId="26606"/>
          <ac:picMkLst>
            <pc:docMk/>
            <pc:sldMk cId="1588023152" sldId="2469"/>
            <ac:picMk id="6" creationId="{573C87FD-6784-4C15-878A-CCECE75A71FC}"/>
          </ac:picMkLst>
        </pc:picChg>
      </pc:sldChg>
      <pc:sldChg chg="modSp add mod">
        <pc:chgData name="Eldert Grootenboer" userId="3fe8758b2c2b58d2" providerId="LiveId" clId="{63338091-D22A-4471-A724-48847A3F5740}" dt="2020-08-29T13:50:22.681" v="345" actId="20577"/>
        <pc:sldMkLst>
          <pc:docMk/>
          <pc:sldMk cId="1273414106" sldId="2470"/>
        </pc:sldMkLst>
        <pc:spChg chg="mod">
          <ac:chgData name="Eldert Grootenboer" userId="3fe8758b2c2b58d2" providerId="LiveId" clId="{63338091-D22A-4471-A724-48847A3F5740}" dt="2020-08-29T13:49:32.337" v="312" actId="255"/>
          <ac:spMkLst>
            <pc:docMk/>
            <pc:sldMk cId="1273414106" sldId="2470"/>
            <ac:spMk id="4" creationId="{44882D54-6628-4034-8FB2-53451B1C9923}"/>
          </ac:spMkLst>
        </pc:spChg>
        <pc:spChg chg="mod">
          <ac:chgData name="Eldert Grootenboer" userId="3fe8758b2c2b58d2" providerId="LiveId" clId="{63338091-D22A-4471-A724-48847A3F5740}" dt="2020-08-29T13:50:22.681" v="345" actId="20577"/>
          <ac:spMkLst>
            <pc:docMk/>
            <pc:sldMk cId="1273414106" sldId="2470"/>
            <ac:spMk id="6" creationId="{341C59DD-1CEE-47E7-9A09-51E9B4053D34}"/>
          </ac:spMkLst>
        </pc:spChg>
      </pc:sldChg>
      <pc:sldChg chg="modSp new mod modAnim">
        <pc:chgData name="Eldert Grootenboer" userId="3fe8758b2c2b58d2" providerId="LiveId" clId="{63338091-D22A-4471-A724-48847A3F5740}" dt="2020-08-29T14:04:39.355" v="488" actId="368"/>
        <pc:sldMkLst>
          <pc:docMk/>
          <pc:sldMk cId="3003157003" sldId="2471"/>
        </pc:sldMkLst>
        <pc:spChg chg="mod">
          <ac:chgData name="Eldert Grootenboer" userId="3fe8758b2c2b58d2" providerId="LiveId" clId="{63338091-D22A-4471-A724-48847A3F5740}" dt="2020-08-29T13:45:52.976" v="245" actId="20577"/>
          <ac:spMkLst>
            <pc:docMk/>
            <pc:sldMk cId="3003157003" sldId="2471"/>
            <ac:spMk id="2" creationId="{5DFEA802-FD64-4FD6-A5FC-A20769D53468}"/>
          </ac:spMkLst>
        </pc:spChg>
        <pc:spChg chg="mod">
          <ac:chgData name="Eldert Grootenboer" userId="3fe8758b2c2b58d2" providerId="LiveId" clId="{63338091-D22A-4471-A724-48847A3F5740}" dt="2020-08-29T14:04:39.355" v="488" actId="368"/>
          <ac:spMkLst>
            <pc:docMk/>
            <pc:sldMk cId="3003157003" sldId="2471"/>
            <ac:spMk id="3" creationId="{8DD76ED4-3CAB-45DF-9305-BA03C1C08C70}"/>
          </ac:spMkLst>
        </pc:spChg>
      </pc:sldChg>
      <pc:sldChg chg="addSp delSp modSp new mod modClrScheme chgLayout">
        <pc:chgData name="Eldert Grootenboer" userId="3fe8758b2c2b58d2" providerId="LiveId" clId="{63338091-D22A-4471-A724-48847A3F5740}" dt="2020-08-29T13:52:28.265" v="376" actId="1440"/>
        <pc:sldMkLst>
          <pc:docMk/>
          <pc:sldMk cId="3750077322" sldId="2472"/>
        </pc:sldMkLst>
        <pc:spChg chg="del mod ord">
          <ac:chgData name="Eldert Grootenboer" userId="3fe8758b2c2b58d2" providerId="LiveId" clId="{63338091-D22A-4471-A724-48847A3F5740}" dt="2020-08-29T13:50:40.495" v="347" actId="700"/>
          <ac:spMkLst>
            <pc:docMk/>
            <pc:sldMk cId="3750077322" sldId="2472"/>
            <ac:spMk id="2" creationId="{5183FE10-5761-426B-AF7E-49020284498F}"/>
          </ac:spMkLst>
        </pc:spChg>
        <pc:spChg chg="del mod ord">
          <ac:chgData name="Eldert Grootenboer" userId="3fe8758b2c2b58d2" providerId="LiveId" clId="{63338091-D22A-4471-A724-48847A3F5740}" dt="2020-08-29T13:50:40.495" v="347" actId="700"/>
          <ac:spMkLst>
            <pc:docMk/>
            <pc:sldMk cId="3750077322" sldId="2472"/>
            <ac:spMk id="3" creationId="{8CC0155C-FA59-471F-B1C8-98487D8530D1}"/>
          </ac:spMkLst>
        </pc:spChg>
        <pc:spChg chg="add mod ord">
          <ac:chgData name="Eldert Grootenboer" userId="3fe8758b2c2b58d2" providerId="LiveId" clId="{63338091-D22A-4471-A724-48847A3F5740}" dt="2020-08-29T13:50:56.631" v="374" actId="20577"/>
          <ac:spMkLst>
            <pc:docMk/>
            <pc:sldMk cId="3750077322" sldId="2472"/>
            <ac:spMk id="4" creationId="{CAD45C1C-064E-4C06-809D-DAAB5818396D}"/>
          </ac:spMkLst>
        </pc:spChg>
        <pc:spChg chg="add del mod ord">
          <ac:chgData name="Eldert Grootenboer" userId="3fe8758b2c2b58d2" providerId="LiveId" clId="{63338091-D22A-4471-A724-48847A3F5740}" dt="2020-08-29T13:52:00.344" v="375"/>
          <ac:spMkLst>
            <pc:docMk/>
            <pc:sldMk cId="3750077322" sldId="2472"/>
            <ac:spMk id="5" creationId="{38BAED10-6672-4DD2-B3DA-DF4E09992D6C}"/>
          </ac:spMkLst>
        </pc:spChg>
        <pc:picChg chg="add mod">
          <ac:chgData name="Eldert Grootenboer" userId="3fe8758b2c2b58d2" providerId="LiveId" clId="{63338091-D22A-4471-A724-48847A3F5740}" dt="2020-08-29T13:52:28.265" v="376" actId="1440"/>
          <ac:picMkLst>
            <pc:docMk/>
            <pc:sldMk cId="3750077322" sldId="2472"/>
            <ac:picMk id="2050" creationId="{F8BCC15E-9197-40D5-B307-FCD9EDB90B8E}"/>
          </ac:picMkLst>
        </pc:picChg>
      </pc:sldChg>
      <pc:sldChg chg="modSp new mod modAnim">
        <pc:chgData name="Eldert Grootenboer" userId="3fe8758b2c2b58d2" providerId="LiveId" clId="{63338091-D22A-4471-A724-48847A3F5740}" dt="2020-08-29T14:05:55.149" v="503"/>
        <pc:sldMkLst>
          <pc:docMk/>
          <pc:sldMk cId="2001695294" sldId="2473"/>
        </pc:sldMkLst>
        <pc:spChg chg="mod">
          <ac:chgData name="Eldert Grootenboer" userId="3fe8758b2c2b58d2" providerId="LiveId" clId="{63338091-D22A-4471-A724-48847A3F5740}" dt="2020-08-29T13:54:27.505" v="404" actId="20577"/>
          <ac:spMkLst>
            <pc:docMk/>
            <pc:sldMk cId="2001695294" sldId="2473"/>
            <ac:spMk id="2" creationId="{FCA975D5-CF5F-4A4D-AD70-1C52D02413ED}"/>
          </ac:spMkLst>
        </pc:spChg>
        <pc:spChg chg="mod">
          <ac:chgData name="Eldert Grootenboer" userId="3fe8758b2c2b58d2" providerId="LiveId" clId="{63338091-D22A-4471-A724-48847A3F5740}" dt="2020-08-29T14:01:47.368" v="466" actId="6549"/>
          <ac:spMkLst>
            <pc:docMk/>
            <pc:sldMk cId="2001695294" sldId="2473"/>
            <ac:spMk id="3" creationId="{E89E288C-042A-4A86-A0FA-AF954EB3151A}"/>
          </ac:spMkLst>
        </pc:spChg>
      </pc:sldChg>
      <pc:sldChg chg="addSp delSp modSp new add del mod setBg modClrScheme chgLayout">
        <pc:chgData name="Eldert Grootenboer" userId="3fe8758b2c2b58d2" providerId="LiveId" clId="{63338091-D22A-4471-A724-48847A3F5740}" dt="2020-08-29T14:04:17.438" v="487" actId="1076"/>
        <pc:sldMkLst>
          <pc:docMk/>
          <pc:sldMk cId="2481898040" sldId="2474"/>
        </pc:sldMkLst>
        <pc:spChg chg="mod ord">
          <ac:chgData name="Eldert Grootenboer" userId="3fe8758b2c2b58d2" providerId="LiveId" clId="{63338091-D22A-4471-A724-48847A3F5740}" dt="2020-08-29T14:03:50.779" v="482" actId="26606"/>
          <ac:spMkLst>
            <pc:docMk/>
            <pc:sldMk cId="2481898040" sldId="2474"/>
            <ac:spMk id="2" creationId="{E55F7FBC-5622-4813-A52D-D87743E89924}"/>
          </ac:spMkLst>
        </pc:spChg>
        <pc:spChg chg="del mod">
          <ac:chgData name="Eldert Grootenboer" userId="3fe8758b2c2b58d2" providerId="LiveId" clId="{63338091-D22A-4471-A724-48847A3F5740}" dt="2020-08-29T14:02:17.254" v="472"/>
          <ac:spMkLst>
            <pc:docMk/>
            <pc:sldMk cId="2481898040" sldId="2474"/>
            <ac:spMk id="3" creationId="{44AB4EDD-4194-4A48-8C03-4D0F8984B413}"/>
          </ac:spMkLst>
        </pc:spChg>
        <pc:spChg chg="add del mod">
          <ac:chgData name="Eldert Grootenboer" userId="3fe8758b2c2b58d2" providerId="LiveId" clId="{63338091-D22A-4471-A724-48847A3F5740}" dt="2020-08-29T14:02:17.254" v="472"/>
          <ac:spMkLst>
            <pc:docMk/>
            <pc:sldMk cId="2481898040" sldId="2474"/>
            <ac:spMk id="4" creationId="{3AE77E54-4D4E-4299-83FE-FA0218B71B9E}"/>
          </ac:spMkLst>
        </pc:spChg>
        <pc:spChg chg="add del mod">
          <ac:chgData name="Eldert Grootenboer" userId="3fe8758b2c2b58d2" providerId="LiveId" clId="{63338091-D22A-4471-A724-48847A3F5740}" dt="2020-08-29T14:03:17.183" v="475" actId="700"/>
          <ac:spMkLst>
            <pc:docMk/>
            <pc:sldMk cId="2481898040" sldId="2474"/>
            <ac:spMk id="5" creationId="{F9A6BCF7-FB63-4149-857F-ED0A45AE37C9}"/>
          </ac:spMkLst>
        </pc:spChg>
        <pc:spChg chg="add del">
          <ac:chgData name="Eldert Grootenboer" userId="3fe8758b2c2b58d2" providerId="LiveId" clId="{63338091-D22A-4471-A724-48847A3F5740}" dt="2020-08-29T14:03:40.187" v="479" actId="26606"/>
          <ac:spMkLst>
            <pc:docMk/>
            <pc:sldMk cId="2481898040" sldId="2474"/>
            <ac:spMk id="7" creationId="{7905BA41-EE6E-4F80-8636-447F22DD729A}"/>
          </ac:spMkLst>
        </pc:spChg>
        <pc:spChg chg="add del">
          <ac:chgData name="Eldert Grootenboer" userId="3fe8758b2c2b58d2" providerId="LiveId" clId="{63338091-D22A-4471-A724-48847A3F5740}" dt="2020-08-29T14:03:40.187" v="479" actId="26606"/>
          <ac:spMkLst>
            <pc:docMk/>
            <pc:sldMk cId="2481898040" sldId="2474"/>
            <ac:spMk id="8" creationId="{CD7549B2-EE05-4558-8C64-AC46755F2B25}"/>
          </ac:spMkLst>
        </pc:spChg>
        <pc:spChg chg="add del">
          <ac:chgData name="Eldert Grootenboer" userId="3fe8758b2c2b58d2" providerId="LiveId" clId="{63338091-D22A-4471-A724-48847A3F5740}" dt="2020-08-29T14:03:35.225" v="477" actId="26606"/>
          <ac:spMkLst>
            <pc:docMk/>
            <pc:sldMk cId="2481898040" sldId="2474"/>
            <ac:spMk id="9" creationId="{35555856-9970-4BC3-9AA9-6A917F53AFBD}"/>
          </ac:spMkLst>
        </pc:spChg>
        <pc:spChg chg="add del">
          <ac:chgData name="Eldert Grootenboer" userId="3fe8758b2c2b58d2" providerId="LiveId" clId="{63338091-D22A-4471-A724-48847A3F5740}" dt="2020-08-29T14:03:35.225" v="477" actId="26606"/>
          <ac:spMkLst>
            <pc:docMk/>
            <pc:sldMk cId="2481898040" sldId="2474"/>
            <ac:spMk id="13" creationId="{13722DD7-BA73-4776-93A3-94491FEF7260}"/>
          </ac:spMkLst>
        </pc:spChg>
        <pc:spChg chg="add del">
          <ac:chgData name="Eldert Grootenboer" userId="3fe8758b2c2b58d2" providerId="LiveId" clId="{63338091-D22A-4471-A724-48847A3F5740}" dt="2020-08-29T14:03:50.779" v="482" actId="26606"/>
          <ac:spMkLst>
            <pc:docMk/>
            <pc:sldMk cId="2481898040" sldId="2474"/>
            <ac:spMk id="17" creationId="{3E443FD7-A66B-4AA0-872D-B088B9BC5F17}"/>
          </ac:spMkLst>
        </pc:spChg>
        <pc:spChg chg="add del">
          <ac:chgData name="Eldert Grootenboer" userId="3fe8758b2c2b58d2" providerId="LiveId" clId="{63338091-D22A-4471-A724-48847A3F5740}" dt="2020-08-29T14:03:50.779" v="482" actId="26606"/>
          <ac:spMkLst>
            <pc:docMk/>
            <pc:sldMk cId="2481898040" sldId="2474"/>
            <ac:spMk id="19" creationId="{C04BE0EF-3561-49B4-9A29-F283168A91C7}"/>
          </ac:spMkLst>
        </pc:spChg>
        <pc:picChg chg="add del">
          <ac:chgData name="Eldert Grootenboer" userId="3fe8758b2c2b58d2" providerId="LiveId" clId="{63338091-D22A-4471-A724-48847A3F5740}" dt="2020-08-29T14:03:35.225" v="477" actId="26606"/>
          <ac:picMkLst>
            <pc:docMk/>
            <pc:sldMk cId="2481898040" sldId="2474"/>
            <ac:picMk id="6" creationId="{BED0BD2D-51B2-430B-80DB-191B4551645A}"/>
          </ac:picMkLst>
        </pc:picChg>
        <pc:picChg chg="add del">
          <ac:chgData name="Eldert Grootenboer" userId="3fe8758b2c2b58d2" providerId="LiveId" clId="{63338091-D22A-4471-A724-48847A3F5740}" dt="2020-08-29T14:03:40.187" v="479" actId="26606"/>
          <ac:picMkLst>
            <pc:docMk/>
            <pc:sldMk cId="2481898040" sldId="2474"/>
            <ac:picMk id="10" creationId="{F5A87A29-F80A-44FA-896A-7E3D16A73C3E}"/>
          </ac:picMkLst>
        </pc:picChg>
        <pc:picChg chg="add del">
          <ac:chgData name="Eldert Grootenboer" userId="3fe8758b2c2b58d2" providerId="LiveId" clId="{63338091-D22A-4471-A724-48847A3F5740}" dt="2020-08-29T14:03:35.225" v="477" actId="26606"/>
          <ac:picMkLst>
            <pc:docMk/>
            <pc:sldMk cId="2481898040" sldId="2474"/>
            <ac:picMk id="11" creationId="{7F487851-BFAF-46D8-A1ED-50CAD6E46F59}"/>
          </ac:picMkLst>
        </pc:picChg>
        <pc:picChg chg="add del mod">
          <ac:chgData name="Eldert Grootenboer" userId="3fe8758b2c2b58d2" providerId="LiveId" clId="{63338091-D22A-4471-A724-48847A3F5740}" dt="2020-08-29T14:03:51.389" v="483" actId="22"/>
          <ac:picMkLst>
            <pc:docMk/>
            <pc:sldMk cId="2481898040" sldId="2474"/>
            <ac:picMk id="12" creationId="{95E4C76F-FAAB-4374-9D19-8F079358A489}"/>
          </ac:picMkLst>
        </pc:picChg>
        <pc:picChg chg="add del">
          <ac:chgData name="Eldert Grootenboer" userId="3fe8758b2c2b58d2" providerId="LiveId" clId="{63338091-D22A-4471-A724-48847A3F5740}" dt="2020-08-29T14:03:55.771" v="485" actId="22"/>
          <ac:picMkLst>
            <pc:docMk/>
            <pc:sldMk cId="2481898040" sldId="2474"/>
            <ac:picMk id="15" creationId="{C732A667-E64C-423D-B708-B3C08EFE8EAF}"/>
          </ac:picMkLst>
        </pc:picChg>
        <pc:picChg chg="add mod">
          <ac:chgData name="Eldert Grootenboer" userId="3fe8758b2c2b58d2" providerId="LiveId" clId="{63338091-D22A-4471-A724-48847A3F5740}" dt="2020-08-29T14:04:17.438" v="487" actId="1076"/>
          <ac:picMkLst>
            <pc:docMk/>
            <pc:sldMk cId="2481898040" sldId="2474"/>
            <ac:picMk id="16" creationId="{9EB21059-A5FC-40DC-8750-07803047EEF1}"/>
          </ac:picMkLst>
        </pc:picChg>
      </pc:sldChg>
      <pc:sldChg chg="addSp delSp modSp new mod modClrScheme chgLayout">
        <pc:chgData name="Eldert Grootenboer" userId="3fe8758b2c2b58d2" providerId="LiveId" clId="{63338091-D22A-4471-A724-48847A3F5740}" dt="2020-08-29T14:13:34.608" v="631"/>
        <pc:sldMkLst>
          <pc:docMk/>
          <pc:sldMk cId="153154303" sldId="2475"/>
        </pc:sldMkLst>
        <pc:spChg chg="del mod ord">
          <ac:chgData name="Eldert Grootenboer" userId="3fe8758b2c2b58d2" providerId="LiveId" clId="{63338091-D22A-4471-A724-48847A3F5740}" dt="2020-08-29T14:06:18.946" v="505" actId="700"/>
          <ac:spMkLst>
            <pc:docMk/>
            <pc:sldMk cId="153154303" sldId="2475"/>
            <ac:spMk id="2" creationId="{30386F49-1A7B-4178-9440-D339026C2E68}"/>
          </ac:spMkLst>
        </pc:spChg>
        <pc:spChg chg="add mod ord">
          <ac:chgData name="Eldert Grootenboer" userId="3fe8758b2c2b58d2" providerId="LiveId" clId="{63338091-D22A-4471-A724-48847A3F5740}" dt="2020-08-29T14:11:39.044" v="627" actId="20577"/>
          <ac:spMkLst>
            <pc:docMk/>
            <pc:sldMk cId="153154303" sldId="2475"/>
            <ac:spMk id="3" creationId="{495625A9-D32D-4727-9881-BA9E6B066063}"/>
          </ac:spMkLst>
        </pc:spChg>
        <pc:spChg chg="add del mod ord">
          <ac:chgData name="Eldert Grootenboer" userId="3fe8758b2c2b58d2" providerId="LiveId" clId="{63338091-D22A-4471-A724-48847A3F5740}" dt="2020-08-29T14:10:30.155" v="577"/>
          <ac:spMkLst>
            <pc:docMk/>
            <pc:sldMk cId="153154303" sldId="2475"/>
            <ac:spMk id="4" creationId="{915F303A-06E8-4826-96A9-3B89733FD753}"/>
          </ac:spMkLst>
        </pc:spChg>
        <pc:spChg chg="add del mod">
          <ac:chgData name="Eldert Grootenboer" userId="3fe8758b2c2b58d2" providerId="LiveId" clId="{63338091-D22A-4471-A724-48847A3F5740}" dt="2020-08-29T14:12:26.877" v="629"/>
          <ac:spMkLst>
            <pc:docMk/>
            <pc:sldMk cId="153154303" sldId="2475"/>
            <ac:spMk id="9" creationId="{EC37465C-44A9-4C98-808A-13199BADE187}"/>
          </ac:spMkLst>
        </pc:spChg>
        <pc:spChg chg="add del mod">
          <ac:chgData name="Eldert Grootenboer" userId="3fe8758b2c2b58d2" providerId="LiveId" clId="{63338091-D22A-4471-A724-48847A3F5740}" dt="2020-08-29T14:12:25.535" v="628" actId="478"/>
          <ac:spMkLst>
            <pc:docMk/>
            <pc:sldMk cId="153154303" sldId="2475"/>
            <ac:spMk id="10" creationId="{94EB9F7E-9285-427C-A759-407FBA21930F}"/>
          </ac:spMkLst>
        </pc:spChg>
        <pc:picChg chg="add del mod">
          <ac:chgData name="Eldert Grootenboer" userId="3fe8758b2c2b58d2" providerId="LiveId" clId="{63338091-D22A-4471-A724-48847A3F5740}" dt="2020-08-29T14:08:48.723" v="574"/>
          <ac:picMkLst>
            <pc:docMk/>
            <pc:sldMk cId="153154303" sldId="2475"/>
            <ac:picMk id="5" creationId="{A13EFDFF-A5B7-4771-A2F6-9F8C15321627}"/>
          </ac:picMkLst>
        </pc:picChg>
        <pc:picChg chg="add del mod">
          <ac:chgData name="Eldert Grootenboer" userId="3fe8758b2c2b58d2" providerId="LiveId" clId="{63338091-D22A-4471-A724-48847A3F5740}" dt="2020-08-29T14:12:25.535" v="628" actId="478"/>
          <ac:picMkLst>
            <pc:docMk/>
            <pc:sldMk cId="153154303" sldId="2475"/>
            <ac:picMk id="6" creationId="{2C8D7F72-6E95-4CAF-A59D-45BAAAD792D2}"/>
          </ac:picMkLst>
        </pc:picChg>
        <pc:picChg chg="add mod">
          <ac:chgData name="Eldert Grootenboer" userId="3fe8758b2c2b58d2" providerId="LiveId" clId="{63338091-D22A-4471-A724-48847A3F5740}" dt="2020-08-29T14:12:26.877" v="629"/>
          <ac:picMkLst>
            <pc:docMk/>
            <pc:sldMk cId="153154303" sldId="2475"/>
            <ac:picMk id="11" creationId="{9481C371-4712-4EC6-A0A2-AC02A34AA4DD}"/>
          </ac:picMkLst>
        </pc:picChg>
        <pc:picChg chg="add del">
          <ac:chgData name="Eldert Grootenboer" userId="3fe8758b2c2b58d2" providerId="LiveId" clId="{63338091-D22A-4471-A724-48847A3F5740}" dt="2020-08-29T14:13:34.608" v="631"/>
          <ac:picMkLst>
            <pc:docMk/>
            <pc:sldMk cId="153154303" sldId="2475"/>
            <ac:picMk id="12" creationId="{5CF0939E-8965-4979-96EF-E0A3B7C6D4CA}"/>
          </ac:picMkLst>
        </pc:picChg>
        <pc:picChg chg="add del mod">
          <ac:chgData name="Eldert Grootenboer" userId="3fe8758b2c2b58d2" providerId="LiveId" clId="{63338091-D22A-4471-A724-48847A3F5740}" dt="2020-08-29T14:08:01.646" v="572"/>
          <ac:picMkLst>
            <pc:docMk/>
            <pc:sldMk cId="153154303" sldId="2475"/>
            <ac:picMk id="4098" creationId="{24EDF84A-F32B-41CC-8E40-0150F16CA59A}"/>
          </ac:picMkLst>
        </pc:picChg>
        <pc:picChg chg="add del mod">
          <ac:chgData name="Eldert Grootenboer" userId="3fe8758b2c2b58d2" providerId="LiveId" clId="{63338091-D22A-4471-A724-48847A3F5740}" dt="2020-08-29T14:09:28.027" v="576"/>
          <ac:picMkLst>
            <pc:docMk/>
            <pc:sldMk cId="153154303" sldId="2475"/>
            <ac:picMk id="4100" creationId="{5A72E78B-9AA8-4BA2-9872-7C2AF43972A1}"/>
          </ac:picMkLst>
        </pc:picChg>
      </pc:sldChg>
      <pc:sldChg chg="new del">
        <pc:chgData name="Eldert Grootenboer" userId="3fe8758b2c2b58d2" providerId="LiveId" clId="{63338091-D22A-4471-A724-48847A3F5740}" dt="2020-08-29T14:00:39.020" v="455" actId="680"/>
        <pc:sldMkLst>
          <pc:docMk/>
          <pc:sldMk cId="1976356583" sldId="2475"/>
        </pc:sldMkLst>
      </pc:sldChg>
      <pc:sldChg chg="addSp delSp modSp new mod modAnim modNotesTx">
        <pc:chgData name="Eldert Grootenboer" userId="3fe8758b2c2b58d2" providerId="LiveId" clId="{63338091-D22A-4471-A724-48847A3F5740}" dt="2020-08-29T15:31:33.170" v="1964" actId="208"/>
        <pc:sldMkLst>
          <pc:docMk/>
          <pc:sldMk cId="2733932280" sldId="2476"/>
        </pc:sldMkLst>
        <pc:spChg chg="mod">
          <ac:chgData name="Eldert Grootenboer" userId="3fe8758b2c2b58d2" providerId="LiveId" clId="{63338091-D22A-4471-A724-48847A3F5740}" dt="2020-08-29T14:15:30.500" v="656" actId="20577"/>
          <ac:spMkLst>
            <pc:docMk/>
            <pc:sldMk cId="2733932280" sldId="2476"/>
            <ac:spMk id="2" creationId="{ECFFE312-DF29-4BC9-9431-F4BCCC021E1D}"/>
          </ac:spMkLst>
        </pc:spChg>
        <pc:spChg chg="mod">
          <ac:chgData name="Eldert Grootenboer" userId="3fe8758b2c2b58d2" providerId="LiveId" clId="{63338091-D22A-4471-A724-48847A3F5740}" dt="2020-08-29T14:15:43.100" v="657"/>
          <ac:spMkLst>
            <pc:docMk/>
            <pc:sldMk cId="2733932280" sldId="2476"/>
            <ac:spMk id="4" creationId="{1877E215-D996-48CC-893F-978F60B2F8AB}"/>
          </ac:spMkLst>
        </pc:spChg>
        <pc:spChg chg="mod">
          <ac:chgData name="Eldert Grootenboer" userId="3fe8758b2c2b58d2" providerId="LiveId" clId="{63338091-D22A-4471-A724-48847A3F5740}" dt="2020-08-29T14:15:43.100" v="657"/>
          <ac:spMkLst>
            <pc:docMk/>
            <pc:sldMk cId="2733932280" sldId="2476"/>
            <ac:spMk id="5" creationId="{B97107BF-9DB1-4128-BF40-D8BCEA4F8D0A}"/>
          </ac:spMkLst>
        </pc:spChg>
        <pc:spChg chg="add mod topLvl">
          <ac:chgData name="Eldert Grootenboer" userId="3fe8758b2c2b58d2" providerId="LiveId" clId="{63338091-D22A-4471-A724-48847A3F5740}" dt="2020-08-29T15:30:39.064" v="1954" actId="208"/>
          <ac:spMkLst>
            <pc:docMk/>
            <pc:sldMk cId="2733932280" sldId="2476"/>
            <ac:spMk id="7" creationId="{C3607409-A9A6-49F7-B665-AD67E13687D8}"/>
          </ac:spMkLst>
        </pc:spChg>
        <pc:spChg chg="mod">
          <ac:chgData name="Eldert Grootenboer" userId="3fe8758b2c2b58d2" providerId="LiveId" clId="{63338091-D22A-4471-A724-48847A3F5740}" dt="2020-08-29T14:15:58.329" v="660"/>
          <ac:spMkLst>
            <pc:docMk/>
            <pc:sldMk cId="2733932280" sldId="2476"/>
            <ac:spMk id="9" creationId="{D2F416DB-0F13-4CE1-9DA9-DACE554474B1}"/>
          </ac:spMkLst>
        </pc:spChg>
        <pc:spChg chg="mod">
          <ac:chgData name="Eldert Grootenboer" userId="3fe8758b2c2b58d2" providerId="LiveId" clId="{63338091-D22A-4471-A724-48847A3F5740}" dt="2020-08-29T14:15:58.329" v="660"/>
          <ac:spMkLst>
            <pc:docMk/>
            <pc:sldMk cId="2733932280" sldId="2476"/>
            <ac:spMk id="10" creationId="{9B278B75-FE94-479B-9515-2055E067151F}"/>
          </ac:spMkLst>
        </pc:spChg>
        <pc:spChg chg="mod">
          <ac:chgData name="Eldert Grootenboer" userId="3fe8758b2c2b58d2" providerId="LiveId" clId="{63338091-D22A-4471-A724-48847A3F5740}" dt="2020-08-29T14:15:58.329" v="660"/>
          <ac:spMkLst>
            <pc:docMk/>
            <pc:sldMk cId="2733932280" sldId="2476"/>
            <ac:spMk id="11" creationId="{3D0C3E4F-73B9-49A5-BE25-24533AF8AFD0}"/>
          </ac:spMkLst>
        </pc:spChg>
        <pc:spChg chg="mod">
          <ac:chgData name="Eldert Grootenboer" userId="3fe8758b2c2b58d2" providerId="LiveId" clId="{63338091-D22A-4471-A724-48847A3F5740}" dt="2020-08-29T14:15:58.329" v="660"/>
          <ac:spMkLst>
            <pc:docMk/>
            <pc:sldMk cId="2733932280" sldId="2476"/>
            <ac:spMk id="12" creationId="{130AAC69-BFA5-4C4F-9149-08D10AC3878B}"/>
          </ac:spMkLst>
        </pc:spChg>
        <pc:spChg chg="mod">
          <ac:chgData name="Eldert Grootenboer" userId="3fe8758b2c2b58d2" providerId="LiveId" clId="{63338091-D22A-4471-A724-48847A3F5740}" dt="2020-08-29T14:15:58.329" v="660"/>
          <ac:spMkLst>
            <pc:docMk/>
            <pc:sldMk cId="2733932280" sldId="2476"/>
            <ac:spMk id="13" creationId="{8A1FFEA1-7079-4245-9D0C-9D13DEFE5649}"/>
          </ac:spMkLst>
        </pc:spChg>
        <pc:spChg chg="mod">
          <ac:chgData name="Eldert Grootenboer" userId="3fe8758b2c2b58d2" providerId="LiveId" clId="{63338091-D22A-4471-A724-48847A3F5740}" dt="2020-08-29T14:22:06.313" v="683" actId="1076"/>
          <ac:spMkLst>
            <pc:docMk/>
            <pc:sldMk cId="2733932280" sldId="2476"/>
            <ac:spMk id="17" creationId="{1BA4328E-09E6-4F6D-9C17-94A778307AFF}"/>
          </ac:spMkLst>
        </pc:spChg>
        <pc:spChg chg="mod">
          <ac:chgData name="Eldert Grootenboer" userId="3fe8758b2c2b58d2" providerId="LiveId" clId="{63338091-D22A-4471-A724-48847A3F5740}" dt="2020-08-29T14:22:06.313" v="683" actId="1076"/>
          <ac:spMkLst>
            <pc:docMk/>
            <pc:sldMk cId="2733932280" sldId="2476"/>
            <ac:spMk id="18" creationId="{D23605CE-B2FF-46BC-ACA8-A1EC01283192}"/>
          </ac:spMkLst>
        </pc:spChg>
        <pc:spChg chg="mod">
          <ac:chgData name="Eldert Grootenboer" userId="3fe8758b2c2b58d2" providerId="LiveId" clId="{63338091-D22A-4471-A724-48847A3F5740}" dt="2020-08-29T14:22:06.313" v="683" actId="1076"/>
          <ac:spMkLst>
            <pc:docMk/>
            <pc:sldMk cId="2733932280" sldId="2476"/>
            <ac:spMk id="19" creationId="{8D987AEA-1A32-480B-8A0B-7B42AEF31B9F}"/>
          </ac:spMkLst>
        </pc:spChg>
        <pc:spChg chg="del mod">
          <ac:chgData name="Eldert Grootenboer" userId="3fe8758b2c2b58d2" providerId="LiveId" clId="{63338091-D22A-4471-A724-48847A3F5740}" dt="2020-08-29T14:20:15.220" v="671" actId="478"/>
          <ac:spMkLst>
            <pc:docMk/>
            <pc:sldMk cId="2733932280" sldId="2476"/>
            <ac:spMk id="20" creationId="{B93CEED8-04F2-49D9-9223-13CDC68461A1}"/>
          </ac:spMkLst>
        </pc:spChg>
        <pc:spChg chg="mod">
          <ac:chgData name="Eldert Grootenboer" userId="3fe8758b2c2b58d2" providerId="LiveId" clId="{63338091-D22A-4471-A724-48847A3F5740}" dt="2020-08-29T14:22:06.313" v="683" actId="1076"/>
          <ac:spMkLst>
            <pc:docMk/>
            <pc:sldMk cId="2733932280" sldId="2476"/>
            <ac:spMk id="21" creationId="{D00D14BF-0CE4-4F8D-A850-2B473A3D75B5}"/>
          </ac:spMkLst>
        </pc:spChg>
        <pc:spChg chg="mod">
          <ac:chgData name="Eldert Grootenboer" userId="3fe8758b2c2b58d2" providerId="LiveId" clId="{63338091-D22A-4471-A724-48847A3F5740}" dt="2020-08-29T14:22:06.313" v="683" actId="1076"/>
          <ac:spMkLst>
            <pc:docMk/>
            <pc:sldMk cId="2733932280" sldId="2476"/>
            <ac:spMk id="22" creationId="{5D9CF9FE-7045-4DAC-A32E-6AE226FE0F5F}"/>
          </ac:spMkLst>
        </pc:spChg>
        <pc:spChg chg="mod">
          <ac:chgData name="Eldert Grootenboer" userId="3fe8758b2c2b58d2" providerId="LiveId" clId="{63338091-D22A-4471-A724-48847A3F5740}" dt="2020-08-29T14:24:18.525" v="702" actId="14100"/>
          <ac:spMkLst>
            <pc:docMk/>
            <pc:sldMk cId="2733932280" sldId="2476"/>
            <ac:spMk id="24" creationId="{4CE2B669-1006-4892-9DAC-7FD1AA24DF8E}"/>
          </ac:spMkLst>
        </pc:spChg>
        <pc:spChg chg="mod">
          <ac:chgData name="Eldert Grootenboer" userId="3fe8758b2c2b58d2" providerId="LiveId" clId="{63338091-D22A-4471-A724-48847A3F5740}" dt="2020-08-29T14:24:18.525" v="702" actId="14100"/>
          <ac:spMkLst>
            <pc:docMk/>
            <pc:sldMk cId="2733932280" sldId="2476"/>
            <ac:spMk id="25" creationId="{24BC0B0C-2BD9-492E-B777-B2ECD3988C16}"/>
          </ac:spMkLst>
        </pc:spChg>
        <pc:spChg chg="del mod">
          <ac:chgData name="Eldert Grootenboer" userId="3fe8758b2c2b58d2" providerId="LiveId" clId="{63338091-D22A-4471-A724-48847A3F5740}" dt="2020-08-29T14:21:07.733" v="677" actId="478"/>
          <ac:spMkLst>
            <pc:docMk/>
            <pc:sldMk cId="2733932280" sldId="2476"/>
            <ac:spMk id="26" creationId="{0AEEB239-5EDA-4926-BC52-D0DB2DE04202}"/>
          </ac:spMkLst>
        </pc:spChg>
        <pc:spChg chg="del mod topLvl">
          <ac:chgData name="Eldert Grootenboer" userId="3fe8758b2c2b58d2" providerId="LiveId" clId="{63338091-D22A-4471-A724-48847A3F5740}" dt="2020-08-29T14:25:14.766" v="710" actId="478"/>
          <ac:spMkLst>
            <pc:docMk/>
            <pc:sldMk cId="2733932280" sldId="2476"/>
            <ac:spMk id="36" creationId="{6D2515FC-2D49-4DDE-A290-57C7A9448325}"/>
          </ac:spMkLst>
        </pc:spChg>
        <pc:spChg chg="del mod topLvl">
          <ac:chgData name="Eldert Grootenboer" userId="3fe8758b2c2b58d2" providerId="LiveId" clId="{63338091-D22A-4471-A724-48847A3F5740}" dt="2020-08-29T14:25:14.766" v="710" actId="478"/>
          <ac:spMkLst>
            <pc:docMk/>
            <pc:sldMk cId="2733932280" sldId="2476"/>
            <ac:spMk id="37" creationId="{FF09C227-1F5C-4447-A63A-FEB20DF390B1}"/>
          </ac:spMkLst>
        </pc:spChg>
        <pc:spChg chg="mod topLvl">
          <ac:chgData name="Eldert Grootenboer" userId="3fe8758b2c2b58d2" providerId="LiveId" clId="{63338091-D22A-4471-A724-48847A3F5740}" dt="2020-08-29T14:28:51.740" v="743" actId="165"/>
          <ac:spMkLst>
            <pc:docMk/>
            <pc:sldMk cId="2733932280" sldId="2476"/>
            <ac:spMk id="38" creationId="{92F64DB2-AD76-4CEF-B0C5-E6443DC4D1A0}"/>
          </ac:spMkLst>
        </pc:spChg>
        <pc:spChg chg="del mod topLvl">
          <ac:chgData name="Eldert Grootenboer" userId="3fe8758b2c2b58d2" providerId="LiveId" clId="{63338091-D22A-4471-A724-48847A3F5740}" dt="2020-08-29T14:25:14.766" v="710" actId="478"/>
          <ac:spMkLst>
            <pc:docMk/>
            <pc:sldMk cId="2733932280" sldId="2476"/>
            <ac:spMk id="39" creationId="{340E7250-CF4F-49D1-B5D9-9C2C1079E3B8}"/>
          </ac:spMkLst>
        </pc:spChg>
        <pc:spChg chg="del mod topLvl">
          <ac:chgData name="Eldert Grootenboer" userId="3fe8758b2c2b58d2" providerId="LiveId" clId="{63338091-D22A-4471-A724-48847A3F5740}" dt="2020-08-29T14:25:14.766" v="710" actId="478"/>
          <ac:spMkLst>
            <pc:docMk/>
            <pc:sldMk cId="2733932280" sldId="2476"/>
            <ac:spMk id="40" creationId="{CC87AA6E-8A9D-42EB-BDF9-9838AF354B1A}"/>
          </ac:spMkLst>
        </pc:spChg>
        <pc:spChg chg="mod topLvl">
          <ac:chgData name="Eldert Grootenboer" userId="3fe8758b2c2b58d2" providerId="LiveId" clId="{63338091-D22A-4471-A724-48847A3F5740}" dt="2020-08-29T14:28:51.740" v="743" actId="165"/>
          <ac:spMkLst>
            <pc:docMk/>
            <pc:sldMk cId="2733932280" sldId="2476"/>
            <ac:spMk id="41" creationId="{05AC4A55-40BB-4053-A648-D16A0A3B0284}"/>
          </ac:spMkLst>
        </pc:spChg>
        <pc:spChg chg="del mod topLvl">
          <ac:chgData name="Eldert Grootenboer" userId="3fe8758b2c2b58d2" providerId="LiveId" clId="{63338091-D22A-4471-A724-48847A3F5740}" dt="2020-08-29T14:25:14.766" v="710" actId="478"/>
          <ac:spMkLst>
            <pc:docMk/>
            <pc:sldMk cId="2733932280" sldId="2476"/>
            <ac:spMk id="42" creationId="{CB924F28-A3B1-46BC-A9D8-037E2985D763}"/>
          </ac:spMkLst>
        </pc:spChg>
        <pc:spChg chg="del mod topLvl">
          <ac:chgData name="Eldert Grootenboer" userId="3fe8758b2c2b58d2" providerId="LiveId" clId="{63338091-D22A-4471-A724-48847A3F5740}" dt="2020-08-29T14:25:14.766" v="710" actId="478"/>
          <ac:spMkLst>
            <pc:docMk/>
            <pc:sldMk cId="2733932280" sldId="2476"/>
            <ac:spMk id="43" creationId="{AB42A908-CDDE-4325-BE6C-560A65F8B757}"/>
          </ac:spMkLst>
        </pc:spChg>
        <pc:spChg chg="del mod topLvl">
          <ac:chgData name="Eldert Grootenboer" userId="3fe8758b2c2b58d2" providerId="LiveId" clId="{63338091-D22A-4471-A724-48847A3F5740}" dt="2020-08-29T14:25:14.766" v="710" actId="478"/>
          <ac:spMkLst>
            <pc:docMk/>
            <pc:sldMk cId="2733932280" sldId="2476"/>
            <ac:spMk id="44" creationId="{0BC69990-F693-4D39-8CFE-164318248228}"/>
          </ac:spMkLst>
        </pc:spChg>
        <pc:spChg chg="mod topLvl">
          <ac:chgData name="Eldert Grootenboer" userId="3fe8758b2c2b58d2" providerId="LiveId" clId="{63338091-D22A-4471-A724-48847A3F5740}" dt="2020-08-29T14:28:51.740" v="743" actId="165"/>
          <ac:spMkLst>
            <pc:docMk/>
            <pc:sldMk cId="2733932280" sldId="2476"/>
            <ac:spMk id="45" creationId="{D3FD199E-DDF3-43BE-8370-6CBFC494BD53}"/>
          </ac:spMkLst>
        </pc:spChg>
        <pc:spChg chg="mod topLvl">
          <ac:chgData name="Eldert Grootenboer" userId="3fe8758b2c2b58d2" providerId="LiveId" clId="{63338091-D22A-4471-A724-48847A3F5740}" dt="2020-08-29T14:28:51.740" v="743" actId="165"/>
          <ac:spMkLst>
            <pc:docMk/>
            <pc:sldMk cId="2733932280" sldId="2476"/>
            <ac:spMk id="46" creationId="{1D7E611A-8A84-4A65-B7AB-ED52C54B16C1}"/>
          </ac:spMkLst>
        </pc:spChg>
        <pc:spChg chg="del mod topLvl">
          <ac:chgData name="Eldert Grootenboer" userId="3fe8758b2c2b58d2" providerId="LiveId" clId="{63338091-D22A-4471-A724-48847A3F5740}" dt="2020-08-29T14:25:14.766" v="710" actId="478"/>
          <ac:spMkLst>
            <pc:docMk/>
            <pc:sldMk cId="2733932280" sldId="2476"/>
            <ac:spMk id="47" creationId="{0E7CE4D0-4E52-4EA8-BC44-A6A45CE9E4E1}"/>
          </ac:spMkLst>
        </pc:spChg>
        <pc:spChg chg="mod topLvl">
          <ac:chgData name="Eldert Grootenboer" userId="3fe8758b2c2b58d2" providerId="LiveId" clId="{63338091-D22A-4471-A724-48847A3F5740}" dt="2020-08-29T14:28:51.740" v="743" actId="165"/>
          <ac:spMkLst>
            <pc:docMk/>
            <pc:sldMk cId="2733932280" sldId="2476"/>
            <ac:spMk id="50" creationId="{248AA113-931D-4E44-B85A-659253E47631}"/>
          </ac:spMkLst>
        </pc:spChg>
        <pc:spChg chg="mod topLvl">
          <ac:chgData name="Eldert Grootenboer" userId="3fe8758b2c2b58d2" providerId="LiveId" clId="{63338091-D22A-4471-A724-48847A3F5740}" dt="2020-08-29T14:28:51.740" v="743" actId="165"/>
          <ac:spMkLst>
            <pc:docMk/>
            <pc:sldMk cId="2733932280" sldId="2476"/>
            <ac:spMk id="51" creationId="{ECA11428-A8B3-410F-9891-AACAE4236B60}"/>
          </ac:spMkLst>
        </pc:spChg>
        <pc:spChg chg="del mod topLvl">
          <ac:chgData name="Eldert Grootenboer" userId="3fe8758b2c2b58d2" providerId="LiveId" clId="{63338091-D22A-4471-A724-48847A3F5740}" dt="2020-08-29T14:25:33.313" v="714" actId="478"/>
          <ac:spMkLst>
            <pc:docMk/>
            <pc:sldMk cId="2733932280" sldId="2476"/>
            <ac:spMk id="52" creationId="{00399140-0E0D-4E8D-A3F3-2C1A11EF4509}"/>
          </ac:spMkLst>
        </pc:spChg>
        <pc:spChg chg="mod topLvl">
          <ac:chgData name="Eldert Grootenboer" userId="3fe8758b2c2b58d2" providerId="LiveId" clId="{63338091-D22A-4471-A724-48847A3F5740}" dt="2020-08-29T14:28:51.740" v="743" actId="165"/>
          <ac:spMkLst>
            <pc:docMk/>
            <pc:sldMk cId="2733932280" sldId="2476"/>
            <ac:spMk id="53" creationId="{64337409-B953-4DC5-93A4-9B65589EA16B}"/>
          </ac:spMkLst>
        </pc:spChg>
        <pc:spChg chg="mod topLvl">
          <ac:chgData name="Eldert Grootenboer" userId="3fe8758b2c2b58d2" providerId="LiveId" clId="{63338091-D22A-4471-A724-48847A3F5740}" dt="2020-08-29T14:28:51.740" v="743" actId="165"/>
          <ac:spMkLst>
            <pc:docMk/>
            <pc:sldMk cId="2733932280" sldId="2476"/>
            <ac:spMk id="54" creationId="{34AEC6E2-C75B-49CD-8C1C-47D9813CC670}"/>
          </ac:spMkLst>
        </pc:spChg>
        <pc:spChg chg="add mod">
          <ac:chgData name="Eldert Grootenboer" userId="3fe8758b2c2b58d2" providerId="LiveId" clId="{63338091-D22A-4471-A724-48847A3F5740}" dt="2020-08-29T14:25:44.365" v="717" actId="571"/>
          <ac:spMkLst>
            <pc:docMk/>
            <pc:sldMk cId="2733932280" sldId="2476"/>
            <ac:spMk id="55" creationId="{478F5462-A497-4945-BB48-7B9727B89C3E}"/>
          </ac:spMkLst>
        </pc:spChg>
        <pc:spChg chg="add mod">
          <ac:chgData name="Eldert Grootenboer" userId="3fe8758b2c2b58d2" providerId="LiveId" clId="{63338091-D22A-4471-A724-48847A3F5740}" dt="2020-08-29T14:25:44.365" v="717" actId="571"/>
          <ac:spMkLst>
            <pc:docMk/>
            <pc:sldMk cId="2733932280" sldId="2476"/>
            <ac:spMk id="56" creationId="{2C01CF0B-6742-48DB-A275-10F6F6A31018}"/>
          </ac:spMkLst>
        </pc:spChg>
        <pc:spChg chg="add del mod">
          <ac:chgData name="Eldert Grootenboer" userId="3fe8758b2c2b58d2" providerId="LiveId" clId="{63338091-D22A-4471-A724-48847A3F5740}" dt="2020-08-29T14:26:54.418" v="726"/>
          <ac:spMkLst>
            <pc:docMk/>
            <pc:sldMk cId="2733932280" sldId="2476"/>
            <ac:spMk id="58" creationId="{5F5B4E55-583E-46A7-BD1D-C21ECD5A5C46}"/>
          </ac:spMkLst>
        </pc:spChg>
        <pc:spChg chg="add del mod">
          <ac:chgData name="Eldert Grootenboer" userId="3fe8758b2c2b58d2" providerId="LiveId" clId="{63338091-D22A-4471-A724-48847A3F5740}" dt="2020-08-29T14:26:54.418" v="726"/>
          <ac:spMkLst>
            <pc:docMk/>
            <pc:sldMk cId="2733932280" sldId="2476"/>
            <ac:spMk id="59" creationId="{A4BAECC9-6FA6-467E-B6F9-EBEC6F5CADB2}"/>
          </ac:spMkLst>
        </pc:spChg>
        <pc:spChg chg="add del mod">
          <ac:chgData name="Eldert Grootenboer" userId="3fe8758b2c2b58d2" providerId="LiveId" clId="{63338091-D22A-4471-A724-48847A3F5740}" dt="2020-08-29T14:26:54.418" v="726"/>
          <ac:spMkLst>
            <pc:docMk/>
            <pc:sldMk cId="2733932280" sldId="2476"/>
            <ac:spMk id="60" creationId="{8E4541C8-52E4-4CF1-9E30-D0FD5D339CFE}"/>
          </ac:spMkLst>
        </pc:spChg>
        <pc:spChg chg="mod">
          <ac:chgData name="Eldert Grootenboer" userId="3fe8758b2c2b58d2" providerId="LiveId" clId="{63338091-D22A-4471-A724-48847A3F5740}" dt="2020-08-29T15:31:01.953" v="1960" actId="207"/>
          <ac:spMkLst>
            <pc:docMk/>
            <pc:sldMk cId="2733932280" sldId="2476"/>
            <ac:spMk id="71" creationId="{7E68D586-5246-4E41-8321-7E6B7BCE3918}"/>
          </ac:spMkLst>
        </pc:spChg>
        <pc:spChg chg="mod">
          <ac:chgData name="Eldert Grootenboer" userId="3fe8758b2c2b58d2" providerId="LiveId" clId="{63338091-D22A-4471-A724-48847A3F5740}" dt="2020-08-29T14:31:26.355" v="1125" actId="27803"/>
          <ac:spMkLst>
            <pc:docMk/>
            <pc:sldMk cId="2733932280" sldId="2476"/>
            <ac:spMk id="72" creationId="{E0D5780F-43EA-4612-BBAD-AB12DDA4D064}"/>
          </ac:spMkLst>
        </pc:spChg>
        <pc:spChg chg="mod">
          <ac:chgData name="Eldert Grootenboer" userId="3fe8758b2c2b58d2" providerId="LiveId" clId="{63338091-D22A-4471-A724-48847A3F5740}" dt="2020-08-29T14:31:26.355" v="1125" actId="27803"/>
          <ac:spMkLst>
            <pc:docMk/>
            <pc:sldMk cId="2733932280" sldId="2476"/>
            <ac:spMk id="73" creationId="{0DF6FFD2-476F-4A75-B00B-2482E036A9A0}"/>
          </ac:spMkLst>
        </pc:spChg>
        <pc:spChg chg="mod">
          <ac:chgData name="Eldert Grootenboer" userId="3fe8758b2c2b58d2" providerId="LiveId" clId="{63338091-D22A-4471-A724-48847A3F5740}" dt="2020-08-29T14:31:26.355" v="1125" actId="27803"/>
          <ac:spMkLst>
            <pc:docMk/>
            <pc:sldMk cId="2733932280" sldId="2476"/>
            <ac:spMk id="74" creationId="{41C02239-3FA2-4200-BB62-01BBADE38F5E}"/>
          </ac:spMkLst>
        </pc:spChg>
        <pc:spChg chg="mod">
          <ac:chgData name="Eldert Grootenboer" userId="3fe8758b2c2b58d2" providerId="LiveId" clId="{63338091-D22A-4471-A724-48847A3F5740}" dt="2020-08-29T14:31:26.355" v="1125" actId="27803"/>
          <ac:spMkLst>
            <pc:docMk/>
            <pc:sldMk cId="2733932280" sldId="2476"/>
            <ac:spMk id="75" creationId="{4127C6B5-E370-4D29-8570-0E27151C8C51}"/>
          </ac:spMkLst>
        </pc:spChg>
        <pc:spChg chg="mod">
          <ac:chgData name="Eldert Grootenboer" userId="3fe8758b2c2b58d2" providerId="LiveId" clId="{63338091-D22A-4471-A724-48847A3F5740}" dt="2020-08-29T14:31:26.355" v="1125" actId="27803"/>
          <ac:spMkLst>
            <pc:docMk/>
            <pc:sldMk cId="2733932280" sldId="2476"/>
            <ac:spMk id="76" creationId="{18663CD7-CAAB-4DC2-90C8-50C51BD787EB}"/>
          </ac:spMkLst>
        </pc:spChg>
        <pc:spChg chg="mod">
          <ac:chgData name="Eldert Grootenboer" userId="3fe8758b2c2b58d2" providerId="LiveId" clId="{63338091-D22A-4471-A724-48847A3F5740}" dt="2020-08-29T14:31:26.355" v="1125" actId="27803"/>
          <ac:spMkLst>
            <pc:docMk/>
            <pc:sldMk cId="2733932280" sldId="2476"/>
            <ac:spMk id="77" creationId="{9BFE97BB-1A70-45F1-956E-21D5C09A26AF}"/>
          </ac:spMkLst>
        </pc:spChg>
        <pc:spChg chg="mod">
          <ac:chgData name="Eldert Grootenboer" userId="3fe8758b2c2b58d2" providerId="LiveId" clId="{63338091-D22A-4471-A724-48847A3F5740}" dt="2020-08-29T14:31:26.355" v="1125" actId="27803"/>
          <ac:spMkLst>
            <pc:docMk/>
            <pc:sldMk cId="2733932280" sldId="2476"/>
            <ac:spMk id="78" creationId="{7CF35DAF-1D6E-4967-AC3B-D05DC736230C}"/>
          </ac:spMkLst>
        </pc:spChg>
        <pc:spChg chg="mod">
          <ac:chgData name="Eldert Grootenboer" userId="3fe8758b2c2b58d2" providerId="LiveId" clId="{63338091-D22A-4471-A724-48847A3F5740}" dt="2020-08-29T14:31:26.355" v="1125" actId="27803"/>
          <ac:spMkLst>
            <pc:docMk/>
            <pc:sldMk cId="2733932280" sldId="2476"/>
            <ac:spMk id="79" creationId="{4A66DEB3-7D9D-439A-92AF-4809E2500F64}"/>
          </ac:spMkLst>
        </pc:spChg>
        <pc:spChg chg="mod">
          <ac:chgData name="Eldert Grootenboer" userId="3fe8758b2c2b58d2" providerId="LiveId" clId="{63338091-D22A-4471-A724-48847A3F5740}" dt="2020-08-29T14:31:26.355" v="1125" actId="27803"/>
          <ac:spMkLst>
            <pc:docMk/>
            <pc:sldMk cId="2733932280" sldId="2476"/>
            <ac:spMk id="80" creationId="{0BE38E66-9403-4665-85AE-C31D4F618384}"/>
          </ac:spMkLst>
        </pc:spChg>
        <pc:spChg chg="mod">
          <ac:chgData name="Eldert Grootenboer" userId="3fe8758b2c2b58d2" providerId="LiveId" clId="{63338091-D22A-4471-A724-48847A3F5740}" dt="2020-08-29T14:31:26.355" v="1125" actId="27803"/>
          <ac:spMkLst>
            <pc:docMk/>
            <pc:sldMk cId="2733932280" sldId="2476"/>
            <ac:spMk id="81" creationId="{31012A53-922C-45F8-8845-175C5181AA2C}"/>
          </ac:spMkLst>
        </pc:spChg>
        <pc:spChg chg="mod">
          <ac:chgData name="Eldert Grootenboer" userId="3fe8758b2c2b58d2" providerId="LiveId" clId="{63338091-D22A-4471-A724-48847A3F5740}" dt="2020-08-29T14:31:26.355" v="1125" actId="27803"/>
          <ac:spMkLst>
            <pc:docMk/>
            <pc:sldMk cId="2733932280" sldId="2476"/>
            <ac:spMk id="82" creationId="{75518048-000D-4FE0-AF7F-4775AE22B1DC}"/>
          </ac:spMkLst>
        </pc:spChg>
        <pc:spChg chg="mod">
          <ac:chgData name="Eldert Grootenboer" userId="3fe8758b2c2b58d2" providerId="LiveId" clId="{63338091-D22A-4471-A724-48847A3F5740}" dt="2020-08-29T14:40:00.753" v="1246" actId="27803"/>
          <ac:spMkLst>
            <pc:docMk/>
            <pc:sldMk cId="2733932280" sldId="2476"/>
            <ac:spMk id="84" creationId="{387372DB-520B-47A4-9C60-48E6AF7500BE}"/>
          </ac:spMkLst>
        </pc:spChg>
        <pc:spChg chg="mod">
          <ac:chgData name="Eldert Grootenboer" userId="3fe8758b2c2b58d2" providerId="LiveId" clId="{63338091-D22A-4471-A724-48847A3F5740}" dt="2020-08-29T14:40:00.753" v="1246" actId="27803"/>
          <ac:spMkLst>
            <pc:docMk/>
            <pc:sldMk cId="2733932280" sldId="2476"/>
            <ac:spMk id="85" creationId="{13C444AD-1E4C-449A-9705-C96DB0F44621}"/>
          </ac:spMkLst>
        </pc:spChg>
        <pc:grpChg chg="add del mod">
          <ac:chgData name="Eldert Grootenboer" userId="3fe8758b2c2b58d2" providerId="LiveId" clId="{63338091-D22A-4471-A724-48847A3F5740}" dt="2020-08-29T14:15:44.747" v="658"/>
          <ac:grpSpMkLst>
            <pc:docMk/>
            <pc:sldMk cId="2733932280" sldId="2476"/>
            <ac:grpSpMk id="3" creationId="{D59DB990-D52B-4418-8DD4-7DE316668A48}"/>
          </ac:grpSpMkLst>
        </pc:grpChg>
        <pc:grpChg chg="add del mod">
          <ac:chgData name="Eldert Grootenboer" userId="3fe8758b2c2b58d2" providerId="LiveId" clId="{63338091-D22A-4471-A724-48847A3F5740}" dt="2020-08-29T14:16:33.306" v="663" actId="21"/>
          <ac:grpSpMkLst>
            <pc:docMk/>
            <pc:sldMk cId="2733932280" sldId="2476"/>
            <ac:grpSpMk id="8" creationId="{5324E879-0921-4775-A568-702B1806BAB0}"/>
          </ac:grpSpMkLst>
        </pc:grpChg>
        <pc:grpChg chg="add del mod">
          <ac:chgData name="Eldert Grootenboer" userId="3fe8758b2c2b58d2" providerId="LiveId" clId="{63338091-D22A-4471-A724-48847A3F5740}" dt="2020-08-29T14:24:36.654" v="703" actId="478"/>
          <ac:grpSpMkLst>
            <pc:docMk/>
            <pc:sldMk cId="2733932280" sldId="2476"/>
            <ac:grpSpMk id="15" creationId="{691FF63D-24DD-43D8-AAF9-7C80AF218E9A}"/>
          </ac:grpSpMkLst>
        </pc:grpChg>
        <pc:grpChg chg="mod">
          <ac:chgData name="Eldert Grootenboer" userId="3fe8758b2c2b58d2" providerId="LiveId" clId="{63338091-D22A-4471-A724-48847A3F5740}" dt="2020-08-29T14:22:06.313" v="683" actId="1076"/>
          <ac:grpSpMkLst>
            <pc:docMk/>
            <pc:sldMk cId="2733932280" sldId="2476"/>
            <ac:grpSpMk id="16" creationId="{52657C20-DE40-4CAF-9F96-92E0091193B8}"/>
          </ac:grpSpMkLst>
        </pc:grpChg>
        <pc:grpChg chg="add del mod">
          <ac:chgData name="Eldert Grootenboer" userId="3fe8758b2c2b58d2" providerId="LiveId" clId="{63338091-D22A-4471-A724-48847A3F5740}" dt="2020-08-29T14:25:22.776" v="711" actId="478"/>
          <ac:grpSpMkLst>
            <pc:docMk/>
            <pc:sldMk cId="2733932280" sldId="2476"/>
            <ac:grpSpMk id="23" creationId="{E5B968BC-1D2B-4DF7-A462-21AD796A44FE}"/>
          </ac:grpSpMkLst>
        </pc:grpChg>
        <pc:grpChg chg="add del mod">
          <ac:chgData name="Eldert Grootenboer" userId="3fe8758b2c2b58d2" providerId="LiveId" clId="{63338091-D22A-4471-A724-48847A3F5740}" dt="2020-08-29T14:24:45.044" v="705" actId="165"/>
          <ac:grpSpMkLst>
            <pc:docMk/>
            <pc:sldMk cId="2733932280" sldId="2476"/>
            <ac:grpSpMk id="35" creationId="{74E5180E-745D-45EA-8821-DC1BC6C22687}"/>
          </ac:grpSpMkLst>
        </pc:grpChg>
        <pc:grpChg chg="add mod topLvl">
          <ac:chgData name="Eldert Grootenboer" userId="3fe8758b2c2b58d2" providerId="LiveId" clId="{63338091-D22A-4471-A724-48847A3F5740}" dt="2020-08-29T15:30:49.050" v="1956" actId="208"/>
          <ac:grpSpMkLst>
            <pc:docMk/>
            <pc:sldMk cId="2733932280" sldId="2476"/>
            <ac:grpSpMk id="48" creationId="{69ADAAE7-92E5-4607-B3B9-AA12EAD353C9}"/>
          </ac:grpSpMkLst>
        </pc:grpChg>
        <pc:grpChg chg="add del mod">
          <ac:chgData name="Eldert Grootenboer" userId="3fe8758b2c2b58d2" providerId="LiveId" clId="{63338091-D22A-4471-A724-48847A3F5740}" dt="2020-08-29T14:25:27.895" v="713" actId="165"/>
          <ac:grpSpMkLst>
            <pc:docMk/>
            <pc:sldMk cId="2733932280" sldId="2476"/>
            <ac:grpSpMk id="49" creationId="{089B05D0-CC4E-411D-B59B-45DD6D4F6FE1}"/>
          </ac:grpSpMkLst>
        </pc:grpChg>
        <pc:grpChg chg="add mod topLvl">
          <ac:chgData name="Eldert Grootenboer" userId="3fe8758b2c2b58d2" providerId="LiveId" clId="{63338091-D22A-4471-A724-48847A3F5740}" dt="2020-08-29T15:31:33.170" v="1964" actId="208"/>
          <ac:grpSpMkLst>
            <pc:docMk/>
            <pc:sldMk cId="2733932280" sldId="2476"/>
            <ac:grpSpMk id="57" creationId="{04ACB1FB-0DE5-492C-90D4-F6B61AF76062}"/>
          </ac:grpSpMkLst>
        </pc:grpChg>
        <pc:grpChg chg="add del mod">
          <ac:chgData name="Eldert Grootenboer" userId="3fe8758b2c2b58d2" providerId="LiveId" clId="{63338091-D22A-4471-A724-48847A3F5740}" dt="2020-08-29T14:28:51.740" v="743" actId="165"/>
          <ac:grpSpMkLst>
            <pc:docMk/>
            <pc:sldMk cId="2733932280" sldId="2476"/>
            <ac:grpSpMk id="61" creationId="{66E6EB5E-7AD4-4CF7-B975-641C00F1B8E0}"/>
          </ac:grpSpMkLst>
        </pc:grpChg>
        <pc:grpChg chg="mod">
          <ac:chgData name="Eldert Grootenboer" userId="3fe8758b2c2b58d2" providerId="LiveId" clId="{63338091-D22A-4471-A724-48847A3F5740}" dt="2020-08-29T14:40:00.753" v="1246" actId="27803"/>
          <ac:grpSpMkLst>
            <pc:docMk/>
            <pc:sldMk cId="2733932280" sldId="2476"/>
            <ac:grpSpMk id="70" creationId="{F37FCD2B-3A5C-4765-BA57-45337625E51D}"/>
          </ac:grpSpMkLst>
        </pc:grpChg>
        <pc:grpChg chg="mod">
          <ac:chgData name="Eldert Grootenboer" userId="3fe8758b2c2b58d2" providerId="LiveId" clId="{63338091-D22A-4471-A724-48847A3F5740}" dt="2020-08-29T15:31:12.871" v="1962" actId="207"/>
          <ac:grpSpMkLst>
            <pc:docMk/>
            <pc:sldMk cId="2733932280" sldId="2476"/>
            <ac:grpSpMk id="83" creationId="{E13EE086-F3A9-48A7-BB46-14CE06DE5655}"/>
          </ac:grpSpMkLst>
        </pc:grpChg>
        <pc:picChg chg="add del mod">
          <ac:chgData name="Eldert Grootenboer" userId="3fe8758b2c2b58d2" providerId="LiveId" clId="{63338091-D22A-4471-A724-48847A3F5740}" dt="2020-08-29T14:20:45.474" v="675" actId="478"/>
          <ac:picMkLst>
            <pc:docMk/>
            <pc:sldMk cId="2733932280" sldId="2476"/>
            <ac:picMk id="14" creationId="{504328B9-6606-43DA-96EA-DF429888F040}"/>
          </ac:picMkLst>
        </pc:picChg>
        <pc:picChg chg="add del mod">
          <ac:chgData name="Eldert Grootenboer" userId="3fe8758b2c2b58d2" providerId="LiveId" clId="{63338091-D22A-4471-A724-48847A3F5740}" dt="2020-08-29T14:23:24.790" v="692" actId="478"/>
          <ac:picMkLst>
            <pc:docMk/>
            <pc:sldMk cId="2733932280" sldId="2476"/>
            <ac:picMk id="28" creationId="{B80F8BFC-D770-4906-B574-A293D4035285}"/>
          </ac:picMkLst>
        </pc:picChg>
        <pc:picChg chg="add del mod topLvl">
          <ac:chgData name="Eldert Grootenboer" userId="3fe8758b2c2b58d2" providerId="LiveId" clId="{63338091-D22A-4471-A724-48847A3F5740}" dt="2020-08-29T14:31:26.355" v="1125" actId="27803"/>
          <ac:picMkLst>
            <pc:docMk/>
            <pc:sldMk cId="2733932280" sldId="2476"/>
            <ac:picMk id="30" creationId="{F37FCD2B-3A5C-4765-BA57-45337625E51D}"/>
          </ac:picMkLst>
        </pc:picChg>
        <pc:picChg chg="add del mod">
          <ac:chgData name="Eldert Grootenboer" userId="3fe8758b2c2b58d2" providerId="LiveId" clId="{63338091-D22A-4471-A724-48847A3F5740}" dt="2020-08-29T14:23:25.721" v="693" actId="478"/>
          <ac:picMkLst>
            <pc:docMk/>
            <pc:sldMk cId="2733932280" sldId="2476"/>
            <ac:picMk id="32" creationId="{38819DD0-6AB5-4CA4-93BF-FFE46932BFDA}"/>
          </ac:picMkLst>
        </pc:picChg>
        <pc:picChg chg="add del mod topLvl">
          <ac:chgData name="Eldert Grootenboer" userId="3fe8758b2c2b58d2" providerId="LiveId" clId="{63338091-D22A-4471-A724-48847A3F5740}" dt="2020-08-29T14:40:00.753" v="1246" actId="27803"/>
          <ac:picMkLst>
            <pc:docMk/>
            <pc:sldMk cId="2733932280" sldId="2476"/>
            <ac:picMk id="34" creationId="{E13EE086-F3A9-48A7-BB46-14CE06DE5655}"/>
          </ac:picMkLst>
        </pc:picChg>
        <pc:cxnChg chg="add mod">
          <ac:chgData name="Eldert Grootenboer" userId="3fe8758b2c2b58d2" providerId="LiveId" clId="{63338091-D22A-4471-A724-48847A3F5740}" dt="2020-08-29T15:30:44.139" v="1955" actId="208"/>
          <ac:cxnSpMkLst>
            <pc:docMk/>
            <pc:sldMk cId="2733932280" sldId="2476"/>
            <ac:cxnSpMk id="63" creationId="{2E918788-F66E-4F3F-A25D-5CE51C883C93}"/>
          </ac:cxnSpMkLst>
        </pc:cxnChg>
        <pc:cxnChg chg="add del mod">
          <ac:chgData name="Eldert Grootenboer" userId="3fe8758b2c2b58d2" providerId="LiveId" clId="{63338091-D22A-4471-A724-48847A3F5740}" dt="2020-08-29T14:29:22.090" v="815" actId="478"/>
          <ac:cxnSpMkLst>
            <pc:docMk/>
            <pc:sldMk cId="2733932280" sldId="2476"/>
            <ac:cxnSpMk id="64" creationId="{CEB93CB3-CBEC-4033-A9D2-EEB81203E9BB}"/>
          </ac:cxnSpMkLst>
        </pc:cxnChg>
        <pc:cxnChg chg="add mod">
          <ac:chgData name="Eldert Grootenboer" userId="3fe8758b2c2b58d2" providerId="LiveId" clId="{63338091-D22A-4471-A724-48847A3F5740}" dt="2020-08-29T15:30:53.768" v="1959" actId="208"/>
          <ac:cxnSpMkLst>
            <pc:docMk/>
            <pc:sldMk cId="2733932280" sldId="2476"/>
            <ac:cxnSpMk id="67" creationId="{B150B92E-6019-45F1-893E-34F087C2D380}"/>
          </ac:cxnSpMkLst>
        </pc:cxnChg>
        <pc:cxnChg chg="add mod">
          <ac:chgData name="Eldert Grootenboer" userId="3fe8758b2c2b58d2" providerId="LiveId" clId="{63338091-D22A-4471-A724-48847A3F5740}" dt="2020-08-29T15:31:07.093" v="1961" actId="208"/>
          <ac:cxnSpMkLst>
            <pc:docMk/>
            <pc:sldMk cId="2733932280" sldId="2476"/>
            <ac:cxnSpMk id="68" creationId="{8DD6DD4A-78B6-4512-98BE-A9BC645A7F4B}"/>
          </ac:cxnSpMkLst>
        </pc:cxnChg>
        <pc:cxnChg chg="add mod">
          <ac:chgData name="Eldert Grootenboer" userId="3fe8758b2c2b58d2" providerId="LiveId" clId="{63338091-D22A-4471-A724-48847A3F5740}" dt="2020-08-29T15:31:19.422" v="1963" actId="208"/>
          <ac:cxnSpMkLst>
            <pc:docMk/>
            <pc:sldMk cId="2733932280" sldId="2476"/>
            <ac:cxnSpMk id="69" creationId="{2C5D0924-271E-4BC9-91A9-68C5E85622D2}"/>
          </ac:cxnSpMkLst>
        </pc:cxnChg>
      </pc:sldChg>
      <pc:sldChg chg="addSp delSp modSp new mod modClrScheme chgLayout">
        <pc:chgData name="Eldert Grootenboer" userId="3fe8758b2c2b58d2" providerId="LiveId" clId="{63338091-D22A-4471-A724-48847A3F5740}" dt="2020-08-29T14:42:10.359" v="1285"/>
        <pc:sldMkLst>
          <pc:docMk/>
          <pc:sldMk cId="1204489014" sldId="2477"/>
        </pc:sldMkLst>
        <pc:spChg chg="del mod ord">
          <ac:chgData name="Eldert Grootenboer" userId="3fe8758b2c2b58d2" providerId="LiveId" clId="{63338091-D22A-4471-A724-48847A3F5740}" dt="2020-08-29T14:40:39.988" v="1250" actId="700"/>
          <ac:spMkLst>
            <pc:docMk/>
            <pc:sldMk cId="1204489014" sldId="2477"/>
            <ac:spMk id="2" creationId="{8C95FCB2-89AA-4835-A952-CDDA26D1A1A7}"/>
          </ac:spMkLst>
        </pc:spChg>
        <pc:spChg chg="del mod ord">
          <ac:chgData name="Eldert Grootenboer" userId="3fe8758b2c2b58d2" providerId="LiveId" clId="{63338091-D22A-4471-A724-48847A3F5740}" dt="2020-08-29T14:40:39.988" v="1250" actId="700"/>
          <ac:spMkLst>
            <pc:docMk/>
            <pc:sldMk cId="1204489014" sldId="2477"/>
            <ac:spMk id="3" creationId="{6BA70091-7B4E-4C73-8321-3640D2FDA7DE}"/>
          </ac:spMkLst>
        </pc:spChg>
        <pc:spChg chg="add mod ord">
          <ac:chgData name="Eldert Grootenboer" userId="3fe8758b2c2b58d2" providerId="LiveId" clId="{63338091-D22A-4471-A724-48847A3F5740}" dt="2020-08-29T14:41:57.259" v="1284" actId="20577"/>
          <ac:spMkLst>
            <pc:docMk/>
            <pc:sldMk cId="1204489014" sldId="2477"/>
            <ac:spMk id="4" creationId="{26C40F69-2581-4C2A-843E-50D33E1C8E47}"/>
          </ac:spMkLst>
        </pc:spChg>
        <pc:spChg chg="add del mod ord">
          <ac:chgData name="Eldert Grootenboer" userId="3fe8758b2c2b58d2" providerId="LiveId" clId="{63338091-D22A-4471-A724-48847A3F5740}" dt="2020-08-29T14:42:10.359" v="1285"/>
          <ac:spMkLst>
            <pc:docMk/>
            <pc:sldMk cId="1204489014" sldId="2477"/>
            <ac:spMk id="5" creationId="{A9B283CA-2964-4EA4-9035-825412838BBD}"/>
          </ac:spMkLst>
        </pc:spChg>
        <pc:picChg chg="add mod">
          <ac:chgData name="Eldert Grootenboer" userId="3fe8758b2c2b58d2" providerId="LiveId" clId="{63338091-D22A-4471-A724-48847A3F5740}" dt="2020-08-29T14:42:10.359" v="1285"/>
          <ac:picMkLst>
            <pc:docMk/>
            <pc:sldMk cId="1204489014" sldId="2477"/>
            <ac:picMk id="5122" creationId="{358559B2-193E-4E9E-A9A4-D3A5D3E18C00}"/>
          </ac:picMkLst>
        </pc:picChg>
      </pc:sldChg>
      <pc:sldChg chg="addSp delSp modSp add del mod setBg">
        <pc:chgData name="Eldert Grootenboer" userId="3fe8758b2c2b58d2" providerId="LiveId" clId="{63338091-D22A-4471-A724-48847A3F5740}" dt="2020-08-29T14:36:01.424" v="1214" actId="47"/>
        <pc:sldMkLst>
          <pc:docMk/>
          <pc:sldMk cId="1939637585" sldId="2477"/>
        </pc:sldMkLst>
        <pc:spChg chg="mod">
          <ac:chgData name="Eldert Grootenboer" userId="3fe8758b2c2b58d2" providerId="LiveId" clId="{63338091-D22A-4471-A724-48847A3F5740}" dt="2020-08-29T14:34:14.658" v="1200" actId="26606"/>
          <ac:spMkLst>
            <pc:docMk/>
            <pc:sldMk cId="1939637585" sldId="2477"/>
            <ac:spMk id="2" creationId="{00000000-0000-0000-0000-000000000000}"/>
          </ac:spMkLst>
        </pc:spChg>
        <pc:spChg chg="del">
          <ac:chgData name="Eldert Grootenboer" userId="3fe8758b2c2b58d2" providerId="LiveId" clId="{63338091-D22A-4471-A724-48847A3F5740}" dt="2020-08-29T14:34:14.658" v="1200" actId="26606"/>
          <ac:spMkLst>
            <pc:docMk/>
            <pc:sldMk cId="1939637585" sldId="2477"/>
            <ac:spMk id="3" creationId="{00000000-0000-0000-0000-000000000000}"/>
          </ac:spMkLst>
        </pc:spChg>
        <pc:graphicFrameChg chg="add">
          <ac:chgData name="Eldert Grootenboer" userId="3fe8758b2c2b58d2" providerId="LiveId" clId="{63338091-D22A-4471-A724-48847A3F5740}" dt="2020-08-29T14:34:14.658" v="1200" actId="26606"/>
          <ac:graphicFrameMkLst>
            <pc:docMk/>
            <pc:sldMk cId="1939637585" sldId="2477"/>
            <ac:graphicFrameMk id="5" creationId="{AA43A4BB-50A7-40A9-ADAB-C38AF50685A4}"/>
          </ac:graphicFrameMkLst>
        </pc:graphicFrameChg>
      </pc:sldChg>
      <pc:sldChg chg="addSp delSp modSp new mod setBg">
        <pc:chgData name="Eldert Grootenboer" userId="3fe8758b2c2b58d2" providerId="LiveId" clId="{63338091-D22A-4471-A724-48847A3F5740}" dt="2020-08-29T15:32:18.507" v="1968" actId="207"/>
        <pc:sldMkLst>
          <pc:docMk/>
          <pc:sldMk cId="3009207040" sldId="2478"/>
        </pc:sldMkLst>
        <pc:spChg chg="mod">
          <ac:chgData name="Eldert Grootenboer" userId="3fe8758b2c2b58d2" providerId="LiveId" clId="{63338091-D22A-4471-A724-48847A3F5740}" dt="2020-08-29T14:52:34.284" v="1520" actId="26606"/>
          <ac:spMkLst>
            <pc:docMk/>
            <pc:sldMk cId="3009207040" sldId="2478"/>
            <ac:spMk id="2" creationId="{5E35E1EE-64E2-4A7E-A690-87F0588BE8C5}"/>
          </ac:spMkLst>
        </pc:spChg>
        <pc:spChg chg="del">
          <ac:chgData name="Eldert Grootenboer" userId="3fe8758b2c2b58d2" providerId="LiveId" clId="{63338091-D22A-4471-A724-48847A3F5740}" dt="2020-08-29T14:48:01.063" v="1368"/>
          <ac:spMkLst>
            <pc:docMk/>
            <pc:sldMk cId="3009207040" sldId="2478"/>
            <ac:spMk id="3" creationId="{89B390BA-1A9E-423C-8FB0-76C56DA62FFD}"/>
          </ac:spMkLst>
        </pc:spChg>
        <pc:spChg chg="add del mod">
          <ac:chgData name="Eldert Grootenboer" userId="3fe8758b2c2b58d2" providerId="LiveId" clId="{63338091-D22A-4471-A724-48847A3F5740}" dt="2020-08-29T14:52:36.971" v="1522"/>
          <ac:spMkLst>
            <pc:docMk/>
            <pc:sldMk cId="3009207040" sldId="2478"/>
            <ac:spMk id="4" creationId="{B9FDB256-0917-4878-93AC-DA7019F87E31}"/>
          </ac:spMkLst>
        </pc:spChg>
        <pc:graphicFrameChg chg="add del">
          <ac:chgData name="Eldert Grootenboer" userId="3fe8758b2c2b58d2" providerId="LiveId" clId="{63338091-D22A-4471-A724-48847A3F5740}" dt="2020-08-29T14:52:34.284" v="1520" actId="26606"/>
          <ac:graphicFrameMkLst>
            <pc:docMk/>
            <pc:sldMk cId="3009207040" sldId="2478"/>
            <ac:graphicFrameMk id="6" creationId="{E0B0F3CF-479B-4294-B25C-3FBA4FD135E3}"/>
          </ac:graphicFrameMkLst>
        </pc:graphicFrameChg>
        <pc:graphicFrameChg chg="add mod">
          <ac:chgData name="Eldert Grootenboer" userId="3fe8758b2c2b58d2" providerId="LiveId" clId="{63338091-D22A-4471-A724-48847A3F5740}" dt="2020-08-29T15:32:18.507" v="1968" actId="207"/>
          <ac:graphicFrameMkLst>
            <pc:docMk/>
            <pc:sldMk cId="3009207040" sldId="2478"/>
            <ac:graphicFrameMk id="7" creationId="{D7432A32-B136-4A83-BBC9-0036438E3D11}"/>
          </ac:graphicFrameMkLst>
        </pc:graphicFrameChg>
        <pc:picChg chg="add del mod">
          <ac:chgData name="Eldert Grootenboer" userId="3fe8758b2c2b58d2" providerId="LiveId" clId="{63338091-D22A-4471-A724-48847A3F5740}" dt="2020-08-29T14:48:27.044" v="1369" actId="478"/>
          <ac:picMkLst>
            <pc:docMk/>
            <pc:sldMk cId="3009207040" sldId="2478"/>
            <ac:picMk id="6146" creationId="{0616B32F-2803-4CAB-A72F-32B51BE465CD}"/>
          </ac:picMkLst>
        </pc:picChg>
      </pc:sldChg>
      <pc:sldChg chg="addSp delSp modSp new mod modClrScheme chgLayout">
        <pc:chgData name="Eldert Grootenboer" userId="3fe8758b2c2b58d2" providerId="LiveId" clId="{63338091-D22A-4471-A724-48847A3F5740}" dt="2020-08-30T08:18:13.623" v="2091"/>
        <pc:sldMkLst>
          <pc:docMk/>
          <pc:sldMk cId="2018705741" sldId="2479"/>
        </pc:sldMkLst>
        <pc:spChg chg="add del mod">
          <ac:chgData name="Eldert Grootenboer" userId="3fe8758b2c2b58d2" providerId="LiveId" clId="{63338091-D22A-4471-A724-48847A3F5740}" dt="2020-08-30T08:17:27.101" v="2089" actId="478"/>
          <ac:spMkLst>
            <pc:docMk/>
            <pc:sldMk cId="2018705741" sldId="2479"/>
            <ac:spMk id="2" creationId="{2C5FAAF5-A520-4FA2-9482-B14E489719D6}"/>
          </ac:spMkLst>
        </pc:spChg>
        <pc:spChg chg="del mod ord">
          <ac:chgData name="Eldert Grootenboer" userId="3fe8758b2c2b58d2" providerId="LiveId" clId="{63338091-D22A-4471-A724-48847A3F5740}" dt="2020-08-29T14:54:26.071" v="1540" actId="700"/>
          <ac:spMkLst>
            <pc:docMk/>
            <pc:sldMk cId="2018705741" sldId="2479"/>
            <ac:spMk id="2" creationId="{455365D1-6DE2-4F04-BB05-A9B05F5A0751}"/>
          </ac:spMkLst>
        </pc:spChg>
        <pc:spChg chg="add del mod">
          <ac:chgData name="Eldert Grootenboer" userId="3fe8758b2c2b58d2" providerId="LiveId" clId="{63338091-D22A-4471-A724-48847A3F5740}" dt="2020-08-30T08:18:13.623" v="2091"/>
          <ac:spMkLst>
            <pc:docMk/>
            <pc:sldMk cId="2018705741" sldId="2479"/>
            <ac:spMk id="3" creationId="{9B8600B5-FD73-4B8B-8327-7F5DA9E55EE6}"/>
          </ac:spMkLst>
        </pc:spChg>
        <pc:spChg chg="del mod ord">
          <ac:chgData name="Eldert Grootenboer" userId="3fe8758b2c2b58d2" providerId="LiveId" clId="{63338091-D22A-4471-A724-48847A3F5740}" dt="2020-08-29T14:54:26.071" v="1540" actId="700"/>
          <ac:spMkLst>
            <pc:docMk/>
            <pc:sldMk cId="2018705741" sldId="2479"/>
            <ac:spMk id="3" creationId="{A46BC619-4955-43C3-A6B8-F83EB39165DA}"/>
          </ac:spMkLst>
        </pc:spChg>
        <pc:spChg chg="add mod ord">
          <ac:chgData name="Eldert Grootenboer" userId="3fe8758b2c2b58d2" providerId="LiveId" clId="{63338091-D22A-4471-A724-48847A3F5740}" dt="2020-08-30T08:15:58.764" v="2085" actId="700"/>
          <ac:spMkLst>
            <pc:docMk/>
            <pc:sldMk cId="2018705741" sldId="2479"/>
            <ac:spMk id="4" creationId="{85FB6534-46D8-48D3-B3D6-6DD6B19196B5}"/>
          </ac:spMkLst>
        </pc:spChg>
        <pc:spChg chg="add del mod ord">
          <ac:chgData name="Eldert Grootenboer" userId="3fe8758b2c2b58d2" providerId="LiveId" clId="{63338091-D22A-4471-A724-48847A3F5740}" dt="2020-08-29T14:55:38.805" v="1557"/>
          <ac:spMkLst>
            <pc:docMk/>
            <pc:sldMk cId="2018705741" sldId="2479"/>
            <ac:spMk id="5" creationId="{55AF520B-D416-4D74-9476-8F66BBAD95B4}"/>
          </ac:spMkLst>
        </pc:spChg>
        <pc:graphicFrameChg chg="add del mod">
          <ac:chgData name="Eldert Grootenboer" userId="3fe8758b2c2b58d2" providerId="LiveId" clId="{63338091-D22A-4471-A724-48847A3F5740}" dt="2020-08-29T14:55:33.028" v="1556"/>
          <ac:graphicFrameMkLst>
            <pc:docMk/>
            <pc:sldMk cId="2018705741" sldId="2479"/>
            <ac:graphicFrameMk id="6" creationId="{1E5A74E3-B0D3-4260-B677-229A825D5D52}"/>
          </ac:graphicFrameMkLst>
        </pc:graphicFrameChg>
        <pc:picChg chg="add del mod">
          <ac:chgData name="Eldert Grootenboer" userId="3fe8758b2c2b58d2" providerId="LiveId" clId="{63338091-D22A-4471-A724-48847A3F5740}" dt="2020-08-30T08:17:04.854" v="2088"/>
          <ac:picMkLst>
            <pc:docMk/>
            <pc:sldMk cId="2018705741" sldId="2479"/>
            <ac:picMk id="2050" creationId="{E64E2055-2498-4816-BAF7-298DC430D110}"/>
          </ac:picMkLst>
        </pc:picChg>
        <pc:picChg chg="add mod">
          <ac:chgData name="Eldert Grootenboer" userId="3fe8758b2c2b58d2" providerId="LiveId" clId="{63338091-D22A-4471-A724-48847A3F5740}" dt="2020-08-30T08:18:13.623" v="2091"/>
          <ac:picMkLst>
            <pc:docMk/>
            <pc:sldMk cId="2018705741" sldId="2479"/>
            <ac:picMk id="2052" creationId="{1DBB38E4-D637-49DC-88B3-8885B65A0156}"/>
          </ac:picMkLst>
        </pc:picChg>
        <pc:picChg chg="add del mod ord">
          <ac:chgData name="Eldert Grootenboer" userId="3fe8758b2c2b58d2" providerId="LiveId" clId="{63338091-D22A-4471-A724-48847A3F5740}" dt="2020-08-30T08:18:10.939" v="2090" actId="478"/>
          <ac:picMkLst>
            <pc:docMk/>
            <pc:sldMk cId="2018705741" sldId="2479"/>
            <ac:picMk id="7170" creationId="{E9DDF46D-9FA3-4453-A224-B3F038D0BDF1}"/>
          </ac:picMkLst>
        </pc:picChg>
      </pc:sldChg>
      <pc:sldChg chg="addSp delSp modSp new mod setBg modNotesTx">
        <pc:chgData name="Eldert Grootenboer" userId="3fe8758b2c2b58d2" providerId="LiveId" clId="{63338091-D22A-4471-A724-48847A3F5740}" dt="2020-08-29T15:33:57.090" v="1981" actId="207"/>
        <pc:sldMkLst>
          <pc:docMk/>
          <pc:sldMk cId="3010686152" sldId="2480"/>
        </pc:sldMkLst>
        <pc:spChg chg="mod">
          <ac:chgData name="Eldert Grootenboer" userId="3fe8758b2c2b58d2" providerId="LiveId" clId="{63338091-D22A-4471-A724-48847A3F5740}" dt="2020-08-29T15:21:20.934" v="1902" actId="26606"/>
          <ac:spMkLst>
            <pc:docMk/>
            <pc:sldMk cId="3010686152" sldId="2480"/>
            <ac:spMk id="2" creationId="{2E6C8DD5-4E2C-48FE-BF51-F75923920200}"/>
          </ac:spMkLst>
        </pc:spChg>
        <pc:spChg chg="del">
          <ac:chgData name="Eldert Grootenboer" userId="3fe8758b2c2b58d2" providerId="LiveId" clId="{63338091-D22A-4471-A724-48847A3F5740}" dt="2020-08-29T15:03:07.461" v="1586"/>
          <ac:spMkLst>
            <pc:docMk/>
            <pc:sldMk cId="3010686152" sldId="2480"/>
            <ac:spMk id="3" creationId="{7570BF88-6A2F-49CD-A4B6-D329B007EDCD}"/>
          </ac:spMkLst>
        </pc:spChg>
        <pc:spChg chg="add del mod">
          <ac:chgData name="Eldert Grootenboer" userId="3fe8758b2c2b58d2" providerId="LiveId" clId="{63338091-D22A-4471-A724-48847A3F5740}" dt="2020-08-29T15:03:07.461" v="1586"/>
          <ac:spMkLst>
            <pc:docMk/>
            <pc:sldMk cId="3010686152" sldId="2480"/>
            <ac:spMk id="4" creationId="{BD0031E9-B3BA-4E21-A88D-22D7961DC4C1}"/>
          </ac:spMkLst>
        </pc:spChg>
        <pc:spChg chg="add del mod">
          <ac:chgData name="Eldert Grootenboer" userId="3fe8758b2c2b58d2" providerId="LiveId" clId="{63338091-D22A-4471-A724-48847A3F5740}" dt="2020-08-29T15:21:23.643" v="1904"/>
          <ac:spMkLst>
            <pc:docMk/>
            <pc:sldMk cId="3010686152" sldId="2480"/>
            <ac:spMk id="5" creationId="{5B016D7A-0506-4121-B46C-FA6EE0AB5295}"/>
          </ac:spMkLst>
        </pc:spChg>
        <pc:graphicFrameChg chg="add del">
          <ac:chgData name="Eldert Grootenboer" userId="3fe8758b2c2b58d2" providerId="LiveId" clId="{63338091-D22A-4471-A724-48847A3F5740}" dt="2020-08-29T15:21:20.934" v="1902" actId="26606"/>
          <ac:graphicFrameMkLst>
            <pc:docMk/>
            <pc:sldMk cId="3010686152" sldId="2480"/>
            <ac:graphicFrameMk id="7" creationId="{E3D44119-19B1-48DD-9711-F04E4DABB290}"/>
          </ac:graphicFrameMkLst>
        </pc:graphicFrameChg>
        <pc:graphicFrameChg chg="add mod">
          <ac:chgData name="Eldert Grootenboer" userId="3fe8758b2c2b58d2" providerId="LiveId" clId="{63338091-D22A-4471-A724-48847A3F5740}" dt="2020-08-29T15:33:57.090" v="1981" actId="207"/>
          <ac:graphicFrameMkLst>
            <pc:docMk/>
            <pc:sldMk cId="3010686152" sldId="2480"/>
            <ac:graphicFrameMk id="8" creationId="{AE6E09E3-B0CA-4404-97FB-EA02B93BD2EC}"/>
          </ac:graphicFrameMkLst>
        </pc:graphicFrameChg>
      </pc:sldChg>
      <pc:sldChg chg="addSp delSp modSp new mod setBg modNotesTx">
        <pc:chgData name="Eldert Grootenboer" userId="3fe8758b2c2b58d2" providerId="LiveId" clId="{63338091-D22A-4471-A724-48847A3F5740}" dt="2020-08-29T15:33:43.029" v="1978" actId="2085"/>
        <pc:sldMkLst>
          <pc:docMk/>
          <pc:sldMk cId="2714315879" sldId="2481"/>
        </pc:sldMkLst>
        <pc:spChg chg="mod">
          <ac:chgData name="Eldert Grootenboer" userId="3fe8758b2c2b58d2" providerId="LiveId" clId="{63338091-D22A-4471-A724-48847A3F5740}" dt="2020-08-29T15:22:07.620" v="1910" actId="26606"/>
          <ac:spMkLst>
            <pc:docMk/>
            <pc:sldMk cId="2714315879" sldId="2481"/>
            <ac:spMk id="2" creationId="{F43C0DC8-06FC-439E-99FA-11EA429EEB1C}"/>
          </ac:spMkLst>
        </pc:spChg>
        <pc:spChg chg="add del mod">
          <ac:chgData name="Eldert Grootenboer" userId="3fe8758b2c2b58d2" providerId="LiveId" clId="{63338091-D22A-4471-A724-48847A3F5740}" dt="2020-08-29T15:22:10.264" v="1912"/>
          <ac:spMkLst>
            <pc:docMk/>
            <pc:sldMk cId="2714315879" sldId="2481"/>
            <ac:spMk id="3" creationId="{69AAC06A-EC52-4348-B31E-9D38CA6B483E}"/>
          </ac:spMkLst>
        </pc:spChg>
        <pc:spChg chg="add del">
          <ac:chgData name="Eldert Grootenboer" userId="3fe8758b2c2b58d2" providerId="LiveId" clId="{63338091-D22A-4471-A724-48847A3F5740}" dt="2020-08-29T15:22:07.620" v="1910" actId="26606"/>
          <ac:spMkLst>
            <pc:docMk/>
            <pc:sldMk cId="2714315879" sldId="2481"/>
            <ac:spMk id="9" creationId="{2B566528-1B12-4246-9431-5C2D7D081168}"/>
          </ac:spMkLst>
        </pc:spChg>
        <pc:spChg chg="add del">
          <ac:chgData name="Eldert Grootenboer" userId="3fe8758b2c2b58d2" providerId="LiveId" clId="{63338091-D22A-4471-A724-48847A3F5740}" dt="2020-08-29T15:22:07.620" v="1910" actId="26606"/>
          <ac:spMkLst>
            <pc:docMk/>
            <pc:sldMk cId="2714315879" sldId="2481"/>
            <ac:spMk id="11" creationId="{2E80C965-DB6D-4F81-9E9E-B027384D0BD6}"/>
          </ac:spMkLst>
        </pc:spChg>
        <pc:spChg chg="add del">
          <ac:chgData name="Eldert Grootenboer" userId="3fe8758b2c2b58d2" providerId="LiveId" clId="{63338091-D22A-4471-A724-48847A3F5740}" dt="2020-08-29T15:22:07.620" v="1910" actId="26606"/>
          <ac:spMkLst>
            <pc:docMk/>
            <pc:sldMk cId="2714315879" sldId="2481"/>
            <ac:spMk id="13" creationId="{A580F890-B085-4E95-96AA-55AEBEC5CE6E}"/>
          </ac:spMkLst>
        </pc:spChg>
        <pc:spChg chg="add del">
          <ac:chgData name="Eldert Grootenboer" userId="3fe8758b2c2b58d2" providerId="LiveId" clId="{63338091-D22A-4471-A724-48847A3F5740}" dt="2020-08-29T15:22:07.620" v="1910" actId="26606"/>
          <ac:spMkLst>
            <pc:docMk/>
            <pc:sldMk cId="2714315879" sldId="2481"/>
            <ac:spMk id="15" creationId="{D3F51FEB-38FB-4F6C-9F7B-2F2AFAB65463}"/>
          </ac:spMkLst>
        </pc:spChg>
        <pc:spChg chg="add del">
          <ac:chgData name="Eldert Grootenboer" userId="3fe8758b2c2b58d2" providerId="LiveId" clId="{63338091-D22A-4471-A724-48847A3F5740}" dt="2020-08-29T15:22:07.620" v="1910" actId="26606"/>
          <ac:spMkLst>
            <pc:docMk/>
            <pc:sldMk cId="2714315879" sldId="2481"/>
            <ac:spMk id="17" creationId="{1E547BA6-BAE0-43BB-A7CA-60F69CE252F0}"/>
          </ac:spMkLst>
        </pc:spChg>
        <pc:graphicFrameChg chg="add del">
          <ac:chgData name="Eldert Grootenboer" userId="3fe8758b2c2b58d2" providerId="LiveId" clId="{63338091-D22A-4471-A724-48847A3F5740}" dt="2020-08-29T15:22:07.620" v="1910" actId="26606"/>
          <ac:graphicFrameMkLst>
            <pc:docMk/>
            <pc:sldMk cId="2714315879" sldId="2481"/>
            <ac:graphicFrameMk id="5" creationId="{A5322142-8300-44E7-9450-5E77B95112AE}"/>
          </ac:graphicFrameMkLst>
        </pc:graphicFrameChg>
        <pc:graphicFrameChg chg="add mod">
          <ac:chgData name="Eldert Grootenboer" userId="3fe8758b2c2b58d2" providerId="LiveId" clId="{63338091-D22A-4471-A724-48847A3F5740}" dt="2020-08-29T15:33:43.029" v="1978" actId="2085"/>
          <ac:graphicFrameMkLst>
            <pc:docMk/>
            <pc:sldMk cId="2714315879" sldId="2481"/>
            <ac:graphicFrameMk id="10" creationId="{899E9769-C965-4FA3-B0A6-4522C60A4953}"/>
          </ac:graphicFrameMkLst>
        </pc:graphicFrameChg>
      </pc:sldChg>
      <pc:sldChg chg="modSp new del mod modNotesTx">
        <pc:chgData name="Eldert Grootenboer" userId="3fe8758b2c2b58d2" providerId="LiveId" clId="{63338091-D22A-4471-A724-48847A3F5740}" dt="2020-08-29T15:24:51.200" v="1928" actId="47"/>
        <pc:sldMkLst>
          <pc:docMk/>
          <pc:sldMk cId="3981251447" sldId="2482"/>
        </pc:sldMkLst>
        <pc:spChg chg="mod">
          <ac:chgData name="Eldert Grootenboer" userId="3fe8758b2c2b58d2" providerId="LiveId" clId="{63338091-D22A-4471-A724-48847A3F5740}" dt="2020-08-29T15:03:47.886" v="1594" actId="20577"/>
          <ac:spMkLst>
            <pc:docMk/>
            <pc:sldMk cId="3981251447" sldId="2482"/>
            <ac:spMk id="2" creationId="{51EE07FC-933D-49A3-AA33-5112C0C5EE92}"/>
          </ac:spMkLst>
        </pc:spChg>
        <pc:spChg chg="mod">
          <ac:chgData name="Eldert Grootenboer" userId="3fe8758b2c2b58d2" providerId="LiveId" clId="{63338091-D22A-4471-A724-48847A3F5740}" dt="2020-08-29T15:24:07.918" v="1924" actId="6549"/>
          <ac:spMkLst>
            <pc:docMk/>
            <pc:sldMk cId="3981251447" sldId="2482"/>
            <ac:spMk id="3" creationId="{350EA755-C422-4ED1-ACC5-52ACEC8A84B5}"/>
          </ac:spMkLst>
        </pc:spChg>
      </pc:sldChg>
      <pc:sldChg chg="addSp delSp modSp new mod setBg modNotesTx">
        <pc:chgData name="Eldert Grootenboer" userId="3fe8758b2c2b58d2" providerId="LiveId" clId="{63338091-D22A-4471-A724-48847A3F5740}" dt="2020-08-29T15:34:45.009" v="1989" actId="2085"/>
        <pc:sldMkLst>
          <pc:docMk/>
          <pc:sldMk cId="432779400" sldId="2483"/>
        </pc:sldMkLst>
        <pc:spChg chg="mod">
          <ac:chgData name="Eldert Grootenboer" userId="3fe8758b2c2b58d2" providerId="LiveId" clId="{63338091-D22A-4471-A724-48847A3F5740}" dt="2020-08-29T15:27:19.797" v="1934" actId="26606"/>
          <ac:spMkLst>
            <pc:docMk/>
            <pc:sldMk cId="432779400" sldId="2483"/>
            <ac:spMk id="2" creationId="{A77686F0-8953-41F3-B282-8D3F64FBDE96}"/>
          </ac:spMkLst>
        </pc:spChg>
        <pc:spChg chg="add del mod">
          <ac:chgData name="Eldert Grootenboer" userId="3fe8758b2c2b58d2" providerId="LiveId" clId="{63338091-D22A-4471-A724-48847A3F5740}" dt="2020-08-29T15:27:22.311" v="1936"/>
          <ac:spMkLst>
            <pc:docMk/>
            <pc:sldMk cId="432779400" sldId="2483"/>
            <ac:spMk id="3" creationId="{57340E7C-523E-4164-9B7F-EA66AB602970}"/>
          </ac:spMkLst>
        </pc:spChg>
        <pc:graphicFrameChg chg="add del">
          <ac:chgData name="Eldert Grootenboer" userId="3fe8758b2c2b58d2" providerId="LiveId" clId="{63338091-D22A-4471-A724-48847A3F5740}" dt="2020-08-29T15:27:19.797" v="1934" actId="26606"/>
          <ac:graphicFrameMkLst>
            <pc:docMk/>
            <pc:sldMk cId="432779400" sldId="2483"/>
            <ac:graphicFrameMk id="5" creationId="{DBA6605F-BF05-4E4D-BD3D-4161A56E56A0}"/>
          </ac:graphicFrameMkLst>
        </pc:graphicFrameChg>
        <pc:graphicFrameChg chg="add mod">
          <ac:chgData name="Eldert Grootenboer" userId="3fe8758b2c2b58d2" providerId="LiveId" clId="{63338091-D22A-4471-A724-48847A3F5740}" dt="2020-08-29T15:34:45.009" v="1989" actId="2085"/>
          <ac:graphicFrameMkLst>
            <pc:docMk/>
            <pc:sldMk cId="432779400" sldId="2483"/>
            <ac:graphicFrameMk id="6" creationId="{70A17862-498F-474C-BDD6-1E831846D536}"/>
          </ac:graphicFrameMkLst>
        </pc:graphicFrameChg>
      </pc:sldChg>
      <pc:sldChg chg="addSp delSp modSp new mod setBg modNotesTx">
        <pc:chgData name="Eldert Grootenboer" userId="3fe8758b2c2b58d2" providerId="LiveId" clId="{63338091-D22A-4471-A724-48847A3F5740}" dt="2020-08-29T15:35:05.096" v="1994" actId="2085"/>
        <pc:sldMkLst>
          <pc:docMk/>
          <pc:sldMk cId="2308237534" sldId="2484"/>
        </pc:sldMkLst>
        <pc:spChg chg="mod">
          <ac:chgData name="Eldert Grootenboer" userId="3fe8758b2c2b58d2" providerId="LiveId" clId="{63338091-D22A-4471-A724-48847A3F5740}" dt="2020-08-29T15:28:43.839" v="1944" actId="26606"/>
          <ac:spMkLst>
            <pc:docMk/>
            <pc:sldMk cId="2308237534" sldId="2484"/>
            <ac:spMk id="2" creationId="{5BE31E09-D55C-4CA0-B071-BA768784A158}"/>
          </ac:spMkLst>
        </pc:spChg>
        <pc:spChg chg="add del mod">
          <ac:chgData name="Eldert Grootenboer" userId="3fe8758b2c2b58d2" providerId="LiveId" clId="{63338091-D22A-4471-A724-48847A3F5740}" dt="2020-08-29T15:28:46.105" v="1946"/>
          <ac:spMkLst>
            <pc:docMk/>
            <pc:sldMk cId="2308237534" sldId="2484"/>
            <ac:spMk id="3" creationId="{DE1D15E9-CDDC-42BD-9611-2DF889527B2B}"/>
          </ac:spMkLst>
        </pc:spChg>
        <pc:spChg chg="add del">
          <ac:chgData name="Eldert Grootenboer" userId="3fe8758b2c2b58d2" providerId="LiveId" clId="{63338091-D22A-4471-A724-48847A3F5740}" dt="2020-08-29T15:19:25.867" v="1845" actId="22"/>
          <ac:spMkLst>
            <pc:docMk/>
            <pc:sldMk cId="2308237534" sldId="2484"/>
            <ac:spMk id="5" creationId="{F86F2EC7-0C7F-492F-82F8-6CBA67236F84}"/>
          </ac:spMkLst>
        </pc:spChg>
        <pc:graphicFrameChg chg="add del">
          <ac:chgData name="Eldert Grootenboer" userId="3fe8758b2c2b58d2" providerId="LiveId" clId="{63338091-D22A-4471-A724-48847A3F5740}" dt="2020-08-29T15:28:43.839" v="1944" actId="26606"/>
          <ac:graphicFrameMkLst>
            <pc:docMk/>
            <pc:sldMk cId="2308237534" sldId="2484"/>
            <ac:graphicFrameMk id="6" creationId="{A0D13E74-F9F8-4180-9766-FCEE80EB0F65}"/>
          </ac:graphicFrameMkLst>
        </pc:graphicFrameChg>
        <pc:graphicFrameChg chg="add mod">
          <ac:chgData name="Eldert Grootenboer" userId="3fe8758b2c2b58d2" providerId="LiveId" clId="{63338091-D22A-4471-A724-48847A3F5740}" dt="2020-08-29T15:35:05.096" v="1994" actId="2085"/>
          <ac:graphicFrameMkLst>
            <pc:docMk/>
            <pc:sldMk cId="2308237534" sldId="2484"/>
            <ac:graphicFrameMk id="7" creationId="{0B2F1157-E694-404E-A347-E767E5834F7E}"/>
          </ac:graphicFrameMkLst>
        </pc:graphicFrameChg>
      </pc:sldChg>
      <pc:sldChg chg="addSp delSp modSp new mod modClrScheme chgLayout">
        <pc:chgData name="Eldert Grootenboer" userId="3fe8758b2c2b58d2" providerId="LiveId" clId="{63338091-D22A-4471-A724-48847A3F5740}" dt="2020-08-29T15:13:40.180" v="1654"/>
        <pc:sldMkLst>
          <pc:docMk/>
          <pc:sldMk cId="3174534937" sldId="2485"/>
        </pc:sldMkLst>
        <pc:spChg chg="mod ord">
          <ac:chgData name="Eldert Grootenboer" userId="3fe8758b2c2b58d2" providerId="LiveId" clId="{63338091-D22A-4471-A724-48847A3F5740}" dt="2020-08-29T15:05:31.458" v="1618" actId="700"/>
          <ac:spMkLst>
            <pc:docMk/>
            <pc:sldMk cId="3174534937" sldId="2485"/>
            <ac:spMk id="2" creationId="{A11EA49B-3B9C-473A-9F0D-D51FBD953FAB}"/>
          </ac:spMkLst>
        </pc:spChg>
        <pc:spChg chg="del mod ord">
          <ac:chgData name="Eldert Grootenboer" userId="3fe8758b2c2b58d2" providerId="LiveId" clId="{63338091-D22A-4471-A724-48847A3F5740}" dt="2020-08-29T15:05:31.458" v="1618" actId="700"/>
          <ac:spMkLst>
            <pc:docMk/>
            <pc:sldMk cId="3174534937" sldId="2485"/>
            <ac:spMk id="3" creationId="{DDC9E1F3-D39F-49DC-A01A-C33D98DDB2A9}"/>
          </ac:spMkLst>
        </pc:spChg>
        <pc:spChg chg="add del mod ord">
          <ac:chgData name="Eldert Grootenboer" userId="3fe8758b2c2b58d2" providerId="LiveId" clId="{63338091-D22A-4471-A724-48847A3F5740}" dt="2020-08-29T15:07:38.066" v="1621"/>
          <ac:spMkLst>
            <pc:docMk/>
            <pc:sldMk cId="3174534937" sldId="2485"/>
            <ac:spMk id="4" creationId="{28BE72D6-1FC4-4E8C-9A06-181CB68E561A}"/>
          </ac:spMkLst>
        </pc:spChg>
        <pc:spChg chg="add del mod">
          <ac:chgData name="Eldert Grootenboer" userId="3fe8758b2c2b58d2" providerId="LiveId" clId="{63338091-D22A-4471-A724-48847A3F5740}" dt="2020-08-29T15:08:03.127" v="1626"/>
          <ac:spMkLst>
            <pc:docMk/>
            <pc:sldMk cId="3174534937" sldId="2485"/>
            <ac:spMk id="5" creationId="{80BBF33D-18BE-4808-935D-56F192EBA14F}"/>
          </ac:spMkLst>
        </pc:spChg>
        <pc:spChg chg="add del mod">
          <ac:chgData name="Eldert Grootenboer" userId="3fe8758b2c2b58d2" providerId="LiveId" clId="{63338091-D22A-4471-A724-48847A3F5740}" dt="2020-08-29T15:13:40.180" v="1654"/>
          <ac:spMkLst>
            <pc:docMk/>
            <pc:sldMk cId="3174534937" sldId="2485"/>
            <ac:spMk id="6" creationId="{E9231B02-C033-4FBD-9CC6-9AEEEB565724}"/>
          </ac:spMkLst>
        </pc:spChg>
        <pc:picChg chg="add del mod">
          <ac:chgData name="Eldert Grootenboer" userId="3fe8758b2c2b58d2" providerId="LiveId" clId="{63338091-D22A-4471-A724-48847A3F5740}" dt="2020-08-29T15:07:47.270" v="1625"/>
          <ac:picMkLst>
            <pc:docMk/>
            <pc:sldMk cId="3174534937" sldId="2485"/>
            <ac:picMk id="8" creationId="{D2CC7E3F-3320-400F-9D50-353D36963A8C}"/>
          </ac:picMkLst>
        </pc:picChg>
        <pc:picChg chg="add del mod">
          <ac:chgData name="Eldert Grootenboer" userId="3fe8758b2c2b58d2" providerId="LiveId" clId="{63338091-D22A-4471-A724-48847A3F5740}" dt="2020-08-29T15:07:34.132" v="1620"/>
          <ac:picMkLst>
            <pc:docMk/>
            <pc:sldMk cId="3174534937" sldId="2485"/>
            <ac:picMk id="8194" creationId="{CB2EFFC8-9FF4-4980-8154-99172FA42134}"/>
          </ac:picMkLst>
        </pc:picChg>
        <pc:picChg chg="add del mod">
          <ac:chgData name="Eldert Grootenboer" userId="3fe8758b2c2b58d2" providerId="LiveId" clId="{63338091-D22A-4471-A724-48847A3F5740}" dt="2020-08-29T15:07:43.412" v="1623" actId="21"/>
          <ac:picMkLst>
            <pc:docMk/>
            <pc:sldMk cId="3174534937" sldId="2485"/>
            <ac:picMk id="8196" creationId="{E41D6A63-BD15-4928-803E-F900A20406BC}"/>
          </ac:picMkLst>
        </pc:picChg>
        <pc:picChg chg="add del mod">
          <ac:chgData name="Eldert Grootenboer" userId="3fe8758b2c2b58d2" providerId="LiveId" clId="{63338091-D22A-4471-A724-48847A3F5740}" dt="2020-08-29T15:13:37.492" v="1651" actId="478"/>
          <ac:picMkLst>
            <pc:docMk/>
            <pc:sldMk cId="3174534937" sldId="2485"/>
            <ac:picMk id="8198" creationId="{C0DB2EF3-2360-4D77-9D9A-4420BFEC5E99}"/>
          </ac:picMkLst>
        </pc:picChg>
        <pc:picChg chg="add del">
          <ac:chgData name="Eldert Grootenboer" userId="3fe8758b2c2b58d2" providerId="LiveId" clId="{63338091-D22A-4471-A724-48847A3F5740}" dt="2020-08-29T15:13:39.217" v="1653"/>
          <ac:picMkLst>
            <pc:docMk/>
            <pc:sldMk cId="3174534937" sldId="2485"/>
            <ac:picMk id="8200" creationId="{A36894A3-EB3F-4176-AEC5-E3173638537E}"/>
          </ac:picMkLst>
        </pc:picChg>
        <pc:picChg chg="add mod">
          <ac:chgData name="Eldert Grootenboer" userId="3fe8758b2c2b58d2" providerId="LiveId" clId="{63338091-D22A-4471-A724-48847A3F5740}" dt="2020-08-29T15:13:40.180" v="1654"/>
          <ac:picMkLst>
            <pc:docMk/>
            <pc:sldMk cId="3174534937" sldId="2485"/>
            <ac:picMk id="8202" creationId="{BC7FB789-8C70-41F7-9BA8-887709DF4FEA}"/>
          </ac:picMkLst>
        </pc:picChg>
      </pc:sldChg>
      <pc:sldChg chg="addSp delSp modSp new mod modClrScheme chgLayout">
        <pc:chgData name="Eldert Grootenboer" userId="3fe8758b2c2b58d2" providerId="LiveId" clId="{63338091-D22A-4471-A724-48847A3F5740}" dt="2020-08-29T15:11:00.657" v="1648"/>
        <pc:sldMkLst>
          <pc:docMk/>
          <pc:sldMk cId="3830416597" sldId="2486"/>
        </pc:sldMkLst>
        <pc:spChg chg="del mod ord">
          <ac:chgData name="Eldert Grootenboer" userId="3fe8758b2c2b58d2" providerId="LiveId" clId="{63338091-D22A-4471-A724-48847A3F5740}" dt="2020-08-29T15:08:21.524" v="1628" actId="700"/>
          <ac:spMkLst>
            <pc:docMk/>
            <pc:sldMk cId="3830416597" sldId="2486"/>
            <ac:spMk id="2" creationId="{9ADE0B60-5B75-4063-B12E-0810FCE9754F}"/>
          </ac:spMkLst>
        </pc:spChg>
        <pc:spChg chg="add mod ord">
          <ac:chgData name="Eldert Grootenboer" userId="3fe8758b2c2b58d2" providerId="LiveId" clId="{63338091-D22A-4471-A724-48847A3F5740}" dt="2020-08-29T15:08:27.369" v="1647" actId="5793"/>
          <ac:spMkLst>
            <pc:docMk/>
            <pc:sldMk cId="3830416597" sldId="2486"/>
            <ac:spMk id="3" creationId="{95C7CEBB-7ED7-4B1A-BB63-3E5BA151F3EE}"/>
          </ac:spMkLst>
        </pc:spChg>
        <pc:spChg chg="add del mod ord">
          <ac:chgData name="Eldert Grootenboer" userId="3fe8758b2c2b58d2" providerId="LiveId" clId="{63338091-D22A-4471-A724-48847A3F5740}" dt="2020-08-29T15:11:00.657" v="1648"/>
          <ac:spMkLst>
            <pc:docMk/>
            <pc:sldMk cId="3830416597" sldId="2486"/>
            <ac:spMk id="4" creationId="{FB424546-CE35-42C5-AD8C-26FBFBCFAB80}"/>
          </ac:spMkLst>
        </pc:spChg>
        <pc:picChg chg="add mod">
          <ac:chgData name="Eldert Grootenboer" userId="3fe8758b2c2b58d2" providerId="LiveId" clId="{63338091-D22A-4471-A724-48847A3F5740}" dt="2020-08-29T15:11:00.657" v="1648"/>
          <ac:picMkLst>
            <pc:docMk/>
            <pc:sldMk cId="3830416597" sldId="2486"/>
            <ac:picMk id="9218" creationId="{BA6DAE40-319A-4884-BF76-F736E2BC954B}"/>
          </ac:picMkLst>
        </pc:picChg>
      </pc:sldChg>
      <pc:sldChg chg="modSp add mod">
        <pc:chgData name="Eldert Grootenboer" userId="3fe8758b2c2b58d2" providerId="LiveId" clId="{63338091-D22A-4471-A724-48847A3F5740}" dt="2020-08-29T15:34:22.233" v="1985" actId="2085"/>
        <pc:sldMkLst>
          <pc:docMk/>
          <pc:sldMk cId="79465797" sldId="2487"/>
        </pc:sldMkLst>
        <pc:spChg chg="mod">
          <ac:chgData name="Eldert Grootenboer" userId="3fe8758b2c2b58d2" providerId="LiveId" clId="{63338091-D22A-4471-A724-48847A3F5740}" dt="2020-08-29T15:24:41.781" v="1926"/>
          <ac:spMkLst>
            <pc:docMk/>
            <pc:sldMk cId="79465797" sldId="2487"/>
            <ac:spMk id="2" creationId="{F43C0DC8-06FC-439E-99FA-11EA429EEB1C}"/>
          </ac:spMkLst>
        </pc:spChg>
        <pc:graphicFrameChg chg="add mod">
          <ac:chgData name="Eldert Grootenboer" userId="3fe8758b2c2b58d2" providerId="LiveId" clId="{63338091-D22A-4471-A724-48847A3F5740}" dt="2020-08-29T15:34:22.233" v="1985" actId="2085"/>
          <ac:graphicFrameMkLst>
            <pc:docMk/>
            <pc:sldMk cId="79465797" sldId="2487"/>
            <ac:graphicFrameMk id="10" creationId="{899E9769-C965-4FA3-B0A6-4522C60A4953}"/>
          </ac:graphicFrameMkLst>
        </pc:graphicFrameChg>
      </pc:sldChg>
      <pc:sldChg chg="addSp delSp modSp new mod">
        <pc:chgData name="Eldert Grootenboer" userId="3fe8758b2c2b58d2" providerId="LiveId" clId="{63338091-D22A-4471-A724-48847A3F5740}" dt="2020-08-30T08:05:22.753" v="2004"/>
        <pc:sldMkLst>
          <pc:docMk/>
          <pc:sldMk cId="4050874751" sldId="2488"/>
        </pc:sldMkLst>
        <pc:spChg chg="mod">
          <ac:chgData name="Eldert Grootenboer" userId="3fe8758b2c2b58d2" providerId="LiveId" clId="{63338091-D22A-4471-A724-48847A3F5740}" dt="2020-08-30T08:03:59.211" v="2003" actId="368"/>
          <ac:spMkLst>
            <pc:docMk/>
            <pc:sldMk cId="4050874751" sldId="2488"/>
            <ac:spMk id="2" creationId="{86E6C2D8-0A12-43BB-BB61-538F3984DCD7}"/>
          </ac:spMkLst>
        </pc:spChg>
        <pc:spChg chg="del">
          <ac:chgData name="Eldert Grootenboer" userId="3fe8758b2c2b58d2" providerId="LiveId" clId="{63338091-D22A-4471-A724-48847A3F5740}" dt="2020-08-30T08:05:22.753" v="2004"/>
          <ac:spMkLst>
            <pc:docMk/>
            <pc:sldMk cId="4050874751" sldId="2488"/>
            <ac:spMk id="3" creationId="{E0B4358A-AFFB-4EBC-9A1F-7E1271103A15}"/>
          </ac:spMkLst>
        </pc:spChg>
        <pc:picChg chg="add mod">
          <ac:chgData name="Eldert Grootenboer" userId="3fe8758b2c2b58d2" providerId="LiveId" clId="{63338091-D22A-4471-A724-48847A3F5740}" dt="2020-08-30T08:05:22.753" v="2004"/>
          <ac:picMkLst>
            <pc:docMk/>
            <pc:sldMk cId="4050874751" sldId="2488"/>
            <ac:picMk id="1026" creationId="{80A81786-966D-4B1F-A358-29B5B9D0523D}"/>
          </ac:picMkLst>
        </pc:picChg>
      </pc:sldChg>
      <pc:sldChg chg="addSp delSp modSp new mod setBg modClrScheme chgLayout modNotesTx">
        <pc:chgData name="Eldert Grootenboer" userId="3fe8758b2c2b58d2" providerId="LiveId" clId="{63338091-D22A-4471-A724-48847A3F5740}" dt="2020-08-30T08:14:43.567" v="2084" actId="20577"/>
        <pc:sldMkLst>
          <pc:docMk/>
          <pc:sldMk cId="3423999562" sldId="2489"/>
        </pc:sldMkLst>
        <pc:spChg chg="del mod ord">
          <ac:chgData name="Eldert Grootenboer" userId="3fe8758b2c2b58d2" providerId="LiveId" clId="{63338091-D22A-4471-A724-48847A3F5740}" dt="2020-08-30T08:10:23.236" v="2007" actId="700"/>
          <ac:spMkLst>
            <pc:docMk/>
            <pc:sldMk cId="3423999562" sldId="2489"/>
            <ac:spMk id="2" creationId="{5762736F-A85A-486E-ADD5-948A0F4FBC59}"/>
          </ac:spMkLst>
        </pc:spChg>
        <pc:spChg chg="del mod ord">
          <ac:chgData name="Eldert Grootenboer" userId="3fe8758b2c2b58d2" providerId="LiveId" clId="{63338091-D22A-4471-A724-48847A3F5740}" dt="2020-08-30T08:10:23.236" v="2007" actId="700"/>
          <ac:spMkLst>
            <pc:docMk/>
            <pc:sldMk cId="3423999562" sldId="2489"/>
            <ac:spMk id="3" creationId="{67A11036-6A1B-4C60-8D93-6E9274F57EA8}"/>
          </ac:spMkLst>
        </pc:spChg>
        <pc:spChg chg="add mod ord">
          <ac:chgData name="Eldert Grootenboer" userId="3fe8758b2c2b58d2" providerId="LiveId" clId="{63338091-D22A-4471-A724-48847A3F5740}" dt="2020-08-30T08:13:24.741" v="2078" actId="26606"/>
          <ac:spMkLst>
            <pc:docMk/>
            <pc:sldMk cId="3423999562" sldId="2489"/>
            <ac:spMk id="4" creationId="{FEF007E2-C1BA-4DBD-8E53-4405FE1990EF}"/>
          </ac:spMkLst>
        </pc:spChg>
        <pc:spChg chg="add del mod ord">
          <ac:chgData name="Eldert Grootenboer" userId="3fe8758b2c2b58d2" providerId="LiveId" clId="{63338091-D22A-4471-A724-48847A3F5740}" dt="2020-08-30T08:13:28.722" v="2081"/>
          <ac:spMkLst>
            <pc:docMk/>
            <pc:sldMk cId="3423999562" sldId="2489"/>
            <ac:spMk id="5" creationId="{2B25AD81-AD9C-43E4-9112-FB71215ADE0B}"/>
          </ac:spMkLst>
        </pc:spChg>
        <pc:graphicFrameChg chg="add del">
          <ac:chgData name="Eldert Grootenboer" userId="3fe8758b2c2b58d2" providerId="LiveId" clId="{63338091-D22A-4471-A724-48847A3F5740}" dt="2020-08-30T08:13:24.741" v="2078" actId="26606"/>
          <ac:graphicFrameMkLst>
            <pc:docMk/>
            <pc:sldMk cId="3423999562" sldId="2489"/>
            <ac:graphicFrameMk id="7" creationId="{24E79CE1-D6F5-4C71-B405-10354B0F41B5}"/>
          </ac:graphicFrameMkLst>
        </pc:graphicFrameChg>
        <pc:graphicFrameChg chg="add mod">
          <ac:chgData name="Eldert Grootenboer" userId="3fe8758b2c2b58d2" providerId="LiveId" clId="{63338091-D22A-4471-A724-48847A3F5740}" dt="2020-08-30T08:14:43.567" v="2084" actId="20577"/>
          <ac:graphicFrameMkLst>
            <pc:docMk/>
            <pc:sldMk cId="3423999562" sldId="2489"/>
            <ac:graphicFrameMk id="8" creationId="{02D4469F-F253-4623-B380-1A83F9BA5962}"/>
          </ac:graphicFrameMkLst>
        </pc:graphicFrameChg>
      </pc:sldChg>
    </pc:docChg>
  </pc:docChgLst>
  <pc:docChgLst>
    <pc:chgData name="Eldert Grootenboer" userId="3fe8758b2c2b58d2" providerId="LiveId" clId="{D34A150A-92A7-4B11-900B-B34F0655160D}"/>
    <pc:docChg chg="undo custSel addSld delSld modSld addSection delSection modSection">
      <pc:chgData name="Eldert Grootenboer" userId="3fe8758b2c2b58d2" providerId="LiveId" clId="{D34A150A-92A7-4B11-900B-B34F0655160D}" dt="2020-10-01T15:07:51.292" v="2808" actId="6549"/>
      <pc:docMkLst>
        <pc:docMk/>
      </pc:docMkLst>
      <pc:sldChg chg="add del">
        <pc:chgData name="Eldert Grootenboer" userId="3fe8758b2c2b58d2" providerId="LiveId" clId="{D34A150A-92A7-4B11-900B-B34F0655160D}" dt="2020-09-27T11:24:07.026" v="27" actId="47"/>
        <pc:sldMkLst>
          <pc:docMk/>
          <pc:sldMk cId="3433781766" sldId="259"/>
        </pc:sldMkLst>
      </pc:sldChg>
      <pc:sldChg chg="addSp modSp add mod modClrScheme chgLayout">
        <pc:chgData name="Eldert Grootenboer" userId="3fe8758b2c2b58d2" providerId="LiveId" clId="{D34A150A-92A7-4B11-900B-B34F0655160D}" dt="2020-09-28T09:38:54.808" v="792" actId="700"/>
        <pc:sldMkLst>
          <pc:docMk/>
          <pc:sldMk cId="2507990497" sldId="265"/>
        </pc:sldMkLst>
        <pc:spChg chg="add mod ord">
          <ac:chgData name="Eldert Grootenboer" userId="3fe8758b2c2b58d2" providerId="LiveId" clId="{D34A150A-92A7-4B11-900B-B34F0655160D}" dt="2020-09-28T09:38:54.808" v="792" actId="700"/>
          <ac:spMkLst>
            <pc:docMk/>
            <pc:sldMk cId="2507990497" sldId="265"/>
            <ac:spMk id="3" creationId="{9042BC55-49BE-402A-AF19-90B1D8C1F5A4}"/>
          </ac:spMkLst>
        </pc:spChg>
        <pc:spChg chg="add mod ord">
          <ac:chgData name="Eldert Grootenboer" userId="3fe8758b2c2b58d2" providerId="LiveId" clId="{D34A150A-92A7-4B11-900B-B34F0655160D}" dt="2020-09-28T09:38:54.808" v="792" actId="700"/>
          <ac:spMkLst>
            <pc:docMk/>
            <pc:sldMk cId="2507990497" sldId="265"/>
            <ac:spMk id="12" creationId="{CD4062E9-4DC7-4B57-ACB3-FBE9A17ED3F8}"/>
          </ac:spMkLst>
        </pc:spChg>
      </pc:sldChg>
      <pc:sldChg chg="addSp modSp add mod modClrScheme chgLayout">
        <pc:chgData name="Eldert Grootenboer" userId="3fe8758b2c2b58d2" providerId="LiveId" clId="{D34A150A-92A7-4B11-900B-B34F0655160D}" dt="2020-09-28T09:38:54.808" v="792" actId="700"/>
        <pc:sldMkLst>
          <pc:docMk/>
          <pc:sldMk cId="2290823142" sldId="266"/>
        </pc:sldMkLst>
        <pc:spChg chg="add mod ord">
          <ac:chgData name="Eldert Grootenboer" userId="3fe8758b2c2b58d2" providerId="LiveId" clId="{D34A150A-92A7-4B11-900B-B34F0655160D}" dt="2020-09-28T09:38:54.808" v="792" actId="700"/>
          <ac:spMkLst>
            <pc:docMk/>
            <pc:sldMk cId="2290823142" sldId="266"/>
            <ac:spMk id="3" creationId="{C3E01F39-C4F6-4AEE-BC13-7EC4D2674327}"/>
          </ac:spMkLst>
        </pc:spChg>
        <pc:spChg chg="add mod ord">
          <ac:chgData name="Eldert Grootenboer" userId="3fe8758b2c2b58d2" providerId="LiveId" clId="{D34A150A-92A7-4B11-900B-B34F0655160D}" dt="2020-09-28T09:38:54.808" v="792" actId="700"/>
          <ac:spMkLst>
            <pc:docMk/>
            <pc:sldMk cId="2290823142" sldId="266"/>
            <ac:spMk id="4" creationId="{F809FCEC-3EE5-4A55-ABB0-DEF402413798}"/>
          </ac:spMkLst>
        </pc:spChg>
      </pc:sldChg>
      <pc:sldChg chg="modSp add mod modClrScheme chgLayout">
        <pc:chgData name="Eldert Grootenboer" userId="3fe8758b2c2b58d2" providerId="LiveId" clId="{D34A150A-92A7-4B11-900B-B34F0655160D}" dt="2020-09-28T09:38:54.850" v="793" actId="27636"/>
        <pc:sldMkLst>
          <pc:docMk/>
          <pc:sldMk cId="1156047191" sldId="273"/>
        </pc:sldMkLst>
        <pc:spChg chg="mod ord">
          <ac:chgData name="Eldert Grootenboer" userId="3fe8758b2c2b58d2" providerId="LiveId" clId="{D34A150A-92A7-4B11-900B-B34F0655160D}" dt="2020-09-28T09:38:54.850" v="793" actId="27636"/>
          <ac:spMkLst>
            <pc:docMk/>
            <pc:sldMk cId="1156047191" sldId="273"/>
            <ac:spMk id="2" creationId="{03530625-1C24-49E5-8CD1-40761C64F971}"/>
          </ac:spMkLst>
        </pc:spChg>
        <pc:spChg chg="mod ord">
          <ac:chgData name="Eldert Grootenboer" userId="3fe8758b2c2b58d2" providerId="LiveId" clId="{D34A150A-92A7-4B11-900B-B34F0655160D}" dt="2020-09-28T09:38:54.808" v="792" actId="700"/>
          <ac:spMkLst>
            <pc:docMk/>
            <pc:sldMk cId="1156047191" sldId="273"/>
            <ac:spMk id="3" creationId="{52DAB11C-E7AC-4F27-A658-08ACC0FFA380}"/>
          </ac:spMkLst>
        </pc:spChg>
      </pc:sldChg>
      <pc:sldChg chg="addSp modSp add mod modClrScheme chgLayout">
        <pc:chgData name="Eldert Grootenboer" userId="3fe8758b2c2b58d2" providerId="LiveId" clId="{D34A150A-92A7-4B11-900B-B34F0655160D}" dt="2020-09-28T09:38:54.808" v="792" actId="700"/>
        <pc:sldMkLst>
          <pc:docMk/>
          <pc:sldMk cId="2096148399" sldId="282"/>
        </pc:sldMkLst>
        <pc:spChg chg="add mod ord">
          <ac:chgData name="Eldert Grootenboer" userId="3fe8758b2c2b58d2" providerId="LiveId" clId="{D34A150A-92A7-4B11-900B-B34F0655160D}" dt="2020-09-28T09:38:54.808" v="792" actId="700"/>
          <ac:spMkLst>
            <pc:docMk/>
            <pc:sldMk cId="2096148399" sldId="282"/>
            <ac:spMk id="2" creationId="{C3B569AC-0788-41F9-A9D2-10945F988490}"/>
          </ac:spMkLst>
        </pc:spChg>
        <pc:spChg chg="add mod ord">
          <ac:chgData name="Eldert Grootenboer" userId="3fe8758b2c2b58d2" providerId="LiveId" clId="{D34A150A-92A7-4B11-900B-B34F0655160D}" dt="2020-09-28T09:38:54.808" v="792" actId="700"/>
          <ac:spMkLst>
            <pc:docMk/>
            <pc:sldMk cId="2096148399" sldId="282"/>
            <ac:spMk id="3" creationId="{F5781C93-A7BF-4D6F-BBB0-976DDF4EFE1D}"/>
          </ac:spMkLst>
        </pc:spChg>
      </pc:sldChg>
      <pc:sldChg chg="modSp add mod modTransition setBg chgLayout">
        <pc:chgData name="Eldert Grootenboer" userId="3fe8758b2c2b58d2" providerId="LiveId" clId="{D34A150A-92A7-4B11-900B-B34F0655160D}" dt="2020-09-28T09:38:54.865" v="796" actId="27636"/>
        <pc:sldMkLst>
          <pc:docMk/>
          <pc:sldMk cId="1155230885" sldId="302"/>
        </pc:sldMkLst>
        <pc:spChg chg="mod ord">
          <ac:chgData name="Eldert Grootenboer" userId="3fe8758b2c2b58d2" providerId="LiveId" clId="{D34A150A-92A7-4B11-900B-B34F0655160D}" dt="2020-09-28T09:38:54.808" v="792" actId="700"/>
          <ac:spMkLst>
            <pc:docMk/>
            <pc:sldMk cId="1155230885" sldId="302"/>
            <ac:spMk id="2" creationId="{4E058CF5-AC2E-A24B-89E6-DAA1C3EBD78A}"/>
          </ac:spMkLst>
        </pc:spChg>
        <pc:spChg chg="mod ord">
          <ac:chgData name="Eldert Grootenboer" userId="3fe8758b2c2b58d2" providerId="LiveId" clId="{D34A150A-92A7-4B11-900B-B34F0655160D}" dt="2020-09-28T09:38:54.865" v="796" actId="27636"/>
          <ac:spMkLst>
            <pc:docMk/>
            <pc:sldMk cId="1155230885" sldId="302"/>
            <ac:spMk id="3" creationId="{D5DDA49F-61B2-D146-A892-BD8446E475D0}"/>
          </ac:spMkLst>
        </pc:spChg>
      </pc:sldChg>
      <pc:sldChg chg="modSp add mod modTransition setBg chgLayout">
        <pc:chgData name="Eldert Grootenboer" userId="3fe8758b2c2b58d2" providerId="LiveId" clId="{D34A150A-92A7-4B11-900B-B34F0655160D}" dt="2020-09-28T09:38:54.870" v="797" actId="27636"/>
        <pc:sldMkLst>
          <pc:docMk/>
          <pc:sldMk cId="3792266208" sldId="306"/>
        </pc:sldMkLst>
        <pc:spChg chg="mod ord">
          <ac:chgData name="Eldert Grootenboer" userId="3fe8758b2c2b58d2" providerId="LiveId" clId="{D34A150A-92A7-4B11-900B-B34F0655160D}" dt="2020-09-28T09:38:54.808" v="792" actId="700"/>
          <ac:spMkLst>
            <pc:docMk/>
            <pc:sldMk cId="3792266208" sldId="306"/>
            <ac:spMk id="2" creationId="{4E058CF5-AC2E-A24B-89E6-DAA1C3EBD78A}"/>
          </ac:spMkLst>
        </pc:spChg>
        <pc:spChg chg="mod ord">
          <ac:chgData name="Eldert Grootenboer" userId="3fe8758b2c2b58d2" providerId="LiveId" clId="{D34A150A-92A7-4B11-900B-B34F0655160D}" dt="2020-09-28T09:38:54.870" v="797" actId="27636"/>
          <ac:spMkLst>
            <pc:docMk/>
            <pc:sldMk cId="3792266208" sldId="306"/>
            <ac:spMk id="3" creationId="{D5DDA49F-61B2-D146-A892-BD8446E475D0}"/>
          </ac:spMkLst>
        </pc:spChg>
      </pc:sldChg>
      <pc:sldChg chg="modSp add mod modTransition setBg chgLayout">
        <pc:chgData name="Eldert Grootenboer" userId="3fe8758b2c2b58d2" providerId="LiveId" clId="{D34A150A-92A7-4B11-900B-B34F0655160D}" dt="2020-09-28T09:38:54.808" v="792" actId="700"/>
        <pc:sldMkLst>
          <pc:docMk/>
          <pc:sldMk cId="2119743916" sldId="309"/>
        </pc:sldMkLst>
        <pc:spChg chg="mod ord">
          <ac:chgData name="Eldert Grootenboer" userId="3fe8758b2c2b58d2" providerId="LiveId" clId="{D34A150A-92A7-4B11-900B-B34F0655160D}" dt="2020-09-28T09:38:54.808" v="792" actId="700"/>
          <ac:spMkLst>
            <pc:docMk/>
            <pc:sldMk cId="2119743916" sldId="309"/>
            <ac:spMk id="2" creationId="{4E058CF5-AC2E-A24B-89E6-DAA1C3EBD78A}"/>
          </ac:spMkLst>
        </pc:spChg>
        <pc:spChg chg="mod ord">
          <ac:chgData name="Eldert Grootenboer" userId="3fe8758b2c2b58d2" providerId="LiveId" clId="{D34A150A-92A7-4B11-900B-B34F0655160D}" dt="2020-09-28T09:38:54.808" v="792" actId="700"/>
          <ac:spMkLst>
            <pc:docMk/>
            <pc:sldMk cId="2119743916" sldId="309"/>
            <ac:spMk id="3" creationId="{D5DDA49F-61B2-D146-A892-BD8446E475D0}"/>
          </ac:spMkLst>
        </pc:spChg>
      </pc:sldChg>
      <pc:sldChg chg="addSp delSp modSp add mod chgLayout">
        <pc:chgData name="Eldert Grootenboer" userId="3fe8758b2c2b58d2" providerId="LiveId" clId="{D34A150A-92A7-4B11-900B-B34F0655160D}" dt="2020-09-28T09:38:54.808" v="792" actId="700"/>
        <pc:sldMkLst>
          <pc:docMk/>
          <pc:sldMk cId="3211286739" sldId="384"/>
        </pc:sldMkLst>
        <pc:spChg chg="del mod ord">
          <ac:chgData name="Eldert Grootenboer" userId="3fe8758b2c2b58d2" providerId="LiveId" clId="{D34A150A-92A7-4B11-900B-B34F0655160D}" dt="2020-09-28T09:38:54.808" v="792" actId="700"/>
          <ac:spMkLst>
            <pc:docMk/>
            <pc:sldMk cId="3211286739" sldId="384"/>
            <ac:spMk id="2" creationId="{53399C9B-651D-4BC3-B211-D815DE2C7D7A}"/>
          </ac:spMkLst>
        </pc:spChg>
        <pc:spChg chg="del mod ord">
          <ac:chgData name="Eldert Grootenboer" userId="3fe8758b2c2b58d2" providerId="LiveId" clId="{D34A150A-92A7-4B11-900B-B34F0655160D}" dt="2020-09-28T09:38:54.808" v="792" actId="700"/>
          <ac:spMkLst>
            <pc:docMk/>
            <pc:sldMk cId="3211286739" sldId="384"/>
            <ac:spMk id="3" creationId="{7998EE3A-B705-4978-9224-BFE8154AAC55}"/>
          </ac:spMkLst>
        </pc:spChg>
        <pc:spChg chg="add mod ord">
          <ac:chgData name="Eldert Grootenboer" userId="3fe8758b2c2b58d2" providerId="LiveId" clId="{D34A150A-92A7-4B11-900B-B34F0655160D}" dt="2020-09-28T09:38:54.808" v="792" actId="700"/>
          <ac:spMkLst>
            <pc:docMk/>
            <pc:sldMk cId="3211286739" sldId="384"/>
            <ac:spMk id="5" creationId="{D9E5361F-B950-4BC5-AAA6-430537BEF5BF}"/>
          </ac:spMkLst>
        </pc:spChg>
        <pc:spChg chg="add mod ord">
          <ac:chgData name="Eldert Grootenboer" userId="3fe8758b2c2b58d2" providerId="LiveId" clId="{D34A150A-92A7-4B11-900B-B34F0655160D}" dt="2020-09-28T09:38:54.808" v="792" actId="700"/>
          <ac:spMkLst>
            <pc:docMk/>
            <pc:sldMk cId="3211286739" sldId="384"/>
            <ac:spMk id="6" creationId="{7699F3CF-14B1-4B4E-B2CD-1B9DDBD587B2}"/>
          </ac:spMkLst>
        </pc:spChg>
      </pc:sldChg>
      <pc:sldChg chg="addSp modSp add mod modClrScheme chgLayout">
        <pc:chgData name="Eldert Grootenboer" userId="3fe8758b2c2b58d2" providerId="LiveId" clId="{D34A150A-92A7-4B11-900B-B34F0655160D}" dt="2020-09-28T09:38:54.808" v="792" actId="700"/>
        <pc:sldMkLst>
          <pc:docMk/>
          <pc:sldMk cId="3045574901" sldId="532"/>
        </pc:sldMkLst>
        <pc:spChg chg="add mod ord">
          <ac:chgData name="Eldert Grootenboer" userId="3fe8758b2c2b58d2" providerId="LiveId" clId="{D34A150A-92A7-4B11-900B-B34F0655160D}" dt="2020-09-28T09:38:54.808" v="792" actId="700"/>
          <ac:spMkLst>
            <pc:docMk/>
            <pc:sldMk cId="3045574901" sldId="532"/>
            <ac:spMk id="2" creationId="{08370FC5-F313-4C95-9EC6-D9D84C019E70}"/>
          </ac:spMkLst>
        </pc:spChg>
        <pc:spChg chg="add mod ord">
          <ac:chgData name="Eldert Grootenboer" userId="3fe8758b2c2b58d2" providerId="LiveId" clId="{D34A150A-92A7-4B11-900B-B34F0655160D}" dt="2020-09-28T09:38:54.808" v="792" actId="700"/>
          <ac:spMkLst>
            <pc:docMk/>
            <pc:sldMk cId="3045574901" sldId="532"/>
            <ac:spMk id="4" creationId="{5D6D3450-F777-457B-ADCB-EE7F248057C5}"/>
          </ac:spMkLst>
        </pc:spChg>
      </pc:sldChg>
      <pc:sldChg chg="addSp modSp add mod modClrScheme chgLayout">
        <pc:chgData name="Eldert Grootenboer" userId="3fe8758b2c2b58d2" providerId="LiveId" clId="{D34A150A-92A7-4B11-900B-B34F0655160D}" dt="2020-09-28T09:38:54.808" v="792" actId="700"/>
        <pc:sldMkLst>
          <pc:docMk/>
          <pc:sldMk cId="879555438" sldId="534"/>
        </pc:sldMkLst>
        <pc:spChg chg="add mod ord">
          <ac:chgData name="Eldert Grootenboer" userId="3fe8758b2c2b58d2" providerId="LiveId" clId="{D34A150A-92A7-4B11-900B-B34F0655160D}" dt="2020-09-28T09:38:54.808" v="792" actId="700"/>
          <ac:spMkLst>
            <pc:docMk/>
            <pc:sldMk cId="879555438" sldId="534"/>
            <ac:spMk id="2" creationId="{4CBA7D8F-4DE8-403C-94C5-573E36942930}"/>
          </ac:spMkLst>
        </pc:spChg>
        <pc:spChg chg="add mod ord">
          <ac:chgData name="Eldert Grootenboer" userId="3fe8758b2c2b58d2" providerId="LiveId" clId="{D34A150A-92A7-4B11-900B-B34F0655160D}" dt="2020-09-28T09:38:54.808" v="792" actId="700"/>
          <ac:spMkLst>
            <pc:docMk/>
            <pc:sldMk cId="879555438" sldId="534"/>
            <ac:spMk id="5" creationId="{0C8DDC7B-EBEA-4DE1-84F1-FFDDBDEF10B7}"/>
          </ac:spMkLst>
        </pc:spChg>
      </pc:sldChg>
      <pc:sldChg chg="addSp modSp add mod modClrScheme chgLayout">
        <pc:chgData name="Eldert Grootenboer" userId="3fe8758b2c2b58d2" providerId="LiveId" clId="{D34A150A-92A7-4B11-900B-B34F0655160D}" dt="2020-09-28T09:38:54.808" v="792" actId="700"/>
        <pc:sldMkLst>
          <pc:docMk/>
          <pc:sldMk cId="383486042" sldId="535"/>
        </pc:sldMkLst>
        <pc:spChg chg="add mod ord">
          <ac:chgData name="Eldert Grootenboer" userId="3fe8758b2c2b58d2" providerId="LiveId" clId="{D34A150A-92A7-4B11-900B-B34F0655160D}" dt="2020-09-28T09:38:54.808" v="792" actId="700"/>
          <ac:spMkLst>
            <pc:docMk/>
            <pc:sldMk cId="383486042" sldId="535"/>
            <ac:spMk id="2" creationId="{60AE496D-9266-4480-AC64-4ED39FADED15}"/>
          </ac:spMkLst>
        </pc:spChg>
        <pc:spChg chg="add mod ord">
          <ac:chgData name="Eldert Grootenboer" userId="3fe8758b2c2b58d2" providerId="LiveId" clId="{D34A150A-92A7-4B11-900B-B34F0655160D}" dt="2020-09-28T09:38:54.808" v="792" actId="700"/>
          <ac:spMkLst>
            <pc:docMk/>
            <pc:sldMk cId="383486042" sldId="535"/>
            <ac:spMk id="4" creationId="{E1752519-BA37-473A-B6DA-0E5C9EB8E4E0}"/>
          </ac:spMkLst>
        </pc:spChg>
      </pc:sldChg>
      <pc:sldChg chg="addSp modSp add mod modClrScheme chgLayout">
        <pc:chgData name="Eldert Grootenboer" userId="3fe8758b2c2b58d2" providerId="LiveId" clId="{D34A150A-92A7-4B11-900B-B34F0655160D}" dt="2020-09-28T09:38:54.808" v="792" actId="700"/>
        <pc:sldMkLst>
          <pc:docMk/>
          <pc:sldMk cId="3812306512" sldId="536"/>
        </pc:sldMkLst>
        <pc:spChg chg="add mod ord">
          <ac:chgData name="Eldert Grootenboer" userId="3fe8758b2c2b58d2" providerId="LiveId" clId="{D34A150A-92A7-4B11-900B-B34F0655160D}" dt="2020-09-28T09:38:54.808" v="792" actId="700"/>
          <ac:spMkLst>
            <pc:docMk/>
            <pc:sldMk cId="3812306512" sldId="536"/>
            <ac:spMk id="2" creationId="{00D0CE9B-966A-4260-AEA0-0557D5DBBA23}"/>
          </ac:spMkLst>
        </pc:spChg>
        <pc:spChg chg="add mod ord">
          <ac:chgData name="Eldert Grootenboer" userId="3fe8758b2c2b58d2" providerId="LiveId" clId="{D34A150A-92A7-4B11-900B-B34F0655160D}" dt="2020-09-28T09:38:54.808" v="792" actId="700"/>
          <ac:spMkLst>
            <pc:docMk/>
            <pc:sldMk cId="3812306512" sldId="536"/>
            <ac:spMk id="4" creationId="{16AA85FE-005F-4075-BF33-F0716661B08B}"/>
          </ac:spMkLst>
        </pc:spChg>
      </pc:sldChg>
      <pc:sldChg chg="addSp modSp add mod modClrScheme chgLayout">
        <pc:chgData name="Eldert Grootenboer" userId="3fe8758b2c2b58d2" providerId="LiveId" clId="{D34A150A-92A7-4B11-900B-B34F0655160D}" dt="2020-09-28T09:38:54.808" v="792" actId="700"/>
        <pc:sldMkLst>
          <pc:docMk/>
          <pc:sldMk cId="4069818989" sldId="537"/>
        </pc:sldMkLst>
        <pc:spChg chg="add mod ord">
          <ac:chgData name="Eldert Grootenboer" userId="3fe8758b2c2b58d2" providerId="LiveId" clId="{D34A150A-92A7-4B11-900B-B34F0655160D}" dt="2020-09-28T09:38:54.808" v="792" actId="700"/>
          <ac:spMkLst>
            <pc:docMk/>
            <pc:sldMk cId="4069818989" sldId="537"/>
            <ac:spMk id="6" creationId="{97512C7E-93E4-40DA-A9AF-6341DED3C2DE}"/>
          </ac:spMkLst>
        </pc:spChg>
        <pc:spChg chg="add mod ord">
          <ac:chgData name="Eldert Grootenboer" userId="3fe8758b2c2b58d2" providerId="LiveId" clId="{D34A150A-92A7-4B11-900B-B34F0655160D}" dt="2020-09-28T09:38:54.808" v="792" actId="700"/>
          <ac:spMkLst>
            <pc:docMk/>
            <pc:sldMk cId="4069818989" sldId="537"/>
            <ac:spMk id="10" creationId="{B1D2DAAE-393D-477A-B8B1-B55C3E98F25C}"/>
          </ac:spMkLst>
        </pc:spChg>
      </pc:sldChg>
      <pc:sldChg chg="addSp modSp add mod modClrScheme chgLayout">
        <pc:chgData name="Eldert Grootenboer" userId="3fe8758b2c2b58d2" providerId="LiveId" clId="{D34A150A-92A7-4B11-900B-B34F0655160D}" dt="2020-09-28T09:38:54.808" v="792" actId="700"/>
        <pc:sldMkLst>
          <pc:docMk/>
          <pc:sldMk cId="243002082" sldId="596"/>
        </pc:sldMkLst>
        <pc:spChg chg="add mod ord">
          <ac:chgData name="Eldert Grootenboer" userId="3fe8758b2c2b58d2" providerId="LiveId" clId="{D34A150A-92A7-4B11-900B-B34F0655160D}" dt="2020-09-28T09:38:54.808" v="792" actId="700"/>
          <ac:spMkLst>
            <pc:docMk/>
            <pc:sldMk cId="243002082" sldId="596"/>
            <ac:spMk id="2" creationId="{D27C84E7-6BE4-4B7E-AD75-5F0100CAFA59}"/>
          </ac:spMkLst>
        </pc:spChg>
        <pc:spChg chg="mod ord">
          <ac:chgData name="Eldert Grootenboer" userId="3fe8758b2c2b58d2" providerId="LiveId" clId="{D34A150A-92A7-4B11-900B-B34F0655160D}" dt="2020-09-28T09:38:54.808" v="792" actId="700"/>
          <ac:spMkLst>
            <pc:docMk/>
            <pc:sldMk cId="243002082" sldId="596"/>
            <ac:spMk id="5" creationId="{00000000-0000-0000-0000-000000000000}"/>
          </ac:spMkLst>
        </pc:spChg>
      </pc:sldChg>
      <pc:sldChg chg="addSp modSp add mod modClrScheme chgLayout">
        <pc:chgData name="Eldert Grootenboer" userId="3fe8758b2c2b58d2" providerId="LiveId" clId="{D34A150A-92A7-4B11-900B-B34F0655160D}" dt="2020-09-28T09:38:54.854" v="794" actId="27636"/>
        <pc:sldMkLst>
          <pc:docMk/>
          <pc:sldMk cId="1486889618" sldId="616"/>
        </pc:sldMkLst>
        <pc:spChg chg="mod ord">
          <ac:chgData name="Eldert Grootenboer" userId="3fe8758b2c2b58d2" providerId="LiveId" clId="{D34A150A-92A7-4B11-900B-B34F0655160D}" dt="2020-09-28T09:38:54.854" v="794" actId="27636"/>
          <ac:spMkLst>
            <pc:docMk/>
            <pc:sldMk cId="1486889618" sldId="616"/>
            <ac:spMk id="2" creationId="{00000000-0000-0000-0000-000000000000}"/>
          </ac:spMkLst>
        </pc:spChg>
        <pc:spChg chg="add mod ord">
          <ac:chgData name="Eldert Grootenboer" userId="3fe8758b2c2b58d2" providerId="LiveId" clId="{D34A150A-92A7-4B11-900B-B34F0655160D}" dt="2020-09-28T09:38:54.808" v="792" actId="700"/>
          <ac:spMkLst>
            <pc:docMk/>
            <pc:sldMk cId="1486889618" sldId="616"/>
            <ac:spMk id="3" creationId="{B783221B-F31F-4DE5-9D25-DD118D93B969}"/>
          </ac:spMkLst>
        </pc:spChg>
      </pc:sldChg>
      <pc:sldChg chg="addSp modSp add mod modClrScheme chgLayout">
        <pc:chgData name="Eldert Grootenboer" userId="3fe8758b2c2b58d2" providerId="LiveId" clId="{D34A150A-92A7-4B11-900B-B34F0655160D}" dt="2020-09-28T09:38:54.808" v="792" actId="700"/>
        <pc:sldMkLst>
          <pc:docMk/>
          <pc:sldMk cId="624158146" sldId="617"/>
        </pc:sldMkLst>
        <pc:spChg chg="add mod ord">
          <ac:chgData name="Eldert Grootenboer" userId="3fe8758b2c2b58d2" providerId="LiveId" clId="{D34A150A-92A7-4B11-900B-B34F0655160D}" dt="2020-09-28T09:38:54.808" v="792" actId="700"/>
          <ac:spMkLst>
            <pc:docMk/>
            <pc:sldMk cId="624158146" sldId="617"/>
            <ac:spMk id="2" creationId="{34D0FC80-31A8-4EAD-A423-C9A04E043BA3}"/>
          </ac:spMkLst>
        </pc:spChg>
        <pc:spChg chg="add mod ord">
          <ac:chgData name="Eldert Grootenboer" userId="3fe8758b2c2b58d2" providerId="LiveId" clId="{D34A150A-92A7-4B11-900B-B34F0655160D}" dt="2020-09-28T09:38:54.808" v="792" actId="700"/>
          <ac:spMkLst>
            <pc:docMk/>
            <pc:sldMk cId="624158146" sldId="617"/>
            <ac:spMk id="4" creationId="{18F7EB06-ED71-4C52-960F-43E70BCC9B34}"/>
          </ac:spMkLst>
        </pc:spChg>
      </pc:sldChg>
      <pc:sldChg chg="modSp mod">
        <pc:chgData name="Eldert Grootenboer" userId="3fe8758b2c2b58d2" providerId="LiveId" clId="{D34A150A-92A7-4B11-900B-B34F0655160D}" dt="2020-09-28T09:34:58.996" v="768" actId="20577"/>
        <pc:sldMkLst>
          <pc:docMk/>
          <pc:sldMk cId="2743749799" sldId="1863"/>
        </pc:sldMkLst>
        <pc:spChg chg="mod">
          <ac:chgData name="Eldert Grootenboer" userId="3fe8758b2c2b58d2" providerId="LiveId" clId="{D34A150A-92A7-4B11-900B-B34F0655160D}" dt="2020-09-28T09:34:58.996" v="768" actId="20577"/>
          <ac:spMkLst>
            <pc:docMk/>
            <pc:sldMk cId="2743749799" sldId="1863"/>
            <ac:spMk id="7" creationId="{00000000-0000-0000-0000-000000000000}"/>
          </ac:spMkLst>
        </pc:spChg>
      </pc:sldChg>
      <pc:sldChg chg="add del">
        <pc:chgData name="Eldert Grootenboer" userId="3fe8758b2c2b58d2" providerId="LiveId" clId="{D34A150A-92A7-4B11-900B-B34F0655160D}" dt="2020-09-27T11:24:02.184" v="26" actId="47"/>
        <pc:sldMkLst>
          <pc:docMk/>
          <pc:sldMk cId="4263392662" sldId="1870"/>
        </pc:sldMkLst>
      </pc:sldChg>
      <pc:sldChg chg="add del">
        <pc:chgData name="Eldert Grootenboer" userId="3fe8758b2c2b58d2" providerId="LiveId" clId="{D34A150A-92A7-4B11-900B-B34F0655160D}" dt="2020-09-27T11:24:07.026" v="27" actId="47"/>
        <pc:sldMkLst>
          <pc:docMk/>
          <pc:sldMk cId="1123346746" sldId="1903"/>
        </pc:sldMkLst>
      </pc:sldChg>
      <pc:sldChg chg="add del">
        <pc:chgData name="Eldert Grootenboer" userId="3fe8758b2c2b58d2" providerId="LiveId" clId="{D34A150A-92A7-4B11-900B-B34F0655160D}" dt="2020-09-27T11:26:58.874" v="38"/>
        <pc:sldMkLst>
          <pc:docMk/>
          <pc:sldMk cId="293303708" sldId="1998"/>
        </pc:sldMkLst>
      </pc:sldChg>
      <pc:sldChg chg="new del">
        <pc:chgData name="Eldert Grootenboer" userId="3fe8758b2c2b58d2" providerId="LiveId" clId="{D34A150A-92A7-4B11-900B-B34F0655160D}" dt="2020-09-27T11:23:59.320" v="20" actId="680"/>
        <pc:sldMkLst>
          <pc:docMk/>
          <pc:sldMk cId="3466154917" sldId="1998"/>
        </pc:sldMkLst>
      </pc:sldChg>
      <pc:sldChg chg="addSp modSp add mod modClrScheme chgLayout">
        <pc:chgData name="Eldert Grootenboer" userId="3fe8758b2c2b58d2" providerId="LiveId" clId="{D34A150A-92A7-4B11-900B-B34F0655160D}" dt="2020-09-28T09:38:54.808" v="792" actId="700"/>
        <pc:sldMkLst>
          <pc:docMk/>
          <pc:sldMk cId="470426585" sldId="2182"/>
        </pc:sldMkLst>
        <pc:spChg chg="add mod ord">
          <ac:chgData name="Eldert Grootenboer" userId="3fe8758b2c2b58d2" providerId="LiveId" clId="{D34A150A-92A7-4B11-900B-B34F0655160D}" dt="2020-09-28T09:38:54.808" v="792" actId="700"/>
          <ac:spMkLst>
            <pc:docMk/>
            <pc:sldMk cId="470426585" sldId="2182"/>
            <ac:spMk id="2" creationId="{7C710FB4-35E4-4432-A724-D4E75FA26DF1}"/>
          </ac:spMkLst>
        </pc:spChg>
        <pc:spChg chg="add mod ord">
          <ac:chgData name="Eldert Grootenboer" userId="3fe8758b2c2b58d2" providerId="LiveId" clId="{D34A150A-92A7-4B11-900B-B34F0655160D}" dt="2020-09-28T09:38:54.808" v="792" actId="700"/>
          <ac:spMkLst>
            <pc:docMk/>
            <pc:sldMk cId="470426585" sldId="2182"/>
            <ac:spMk id="3" creationId="{2F97B937-D5CE-4D5B-A4E7-C812C0CE361A}"/>
          </ac:spMkLst>
        </pc:spChg>
      </pc:sldChg>
      <pc:sldChg chg="modSp add del mod">
        <pc:chgData name="Eldert Grootenboer" userId="3fe8758b2c2b58d2" providerId="LiveId" clId="{D34A150A-92A7-4B11-900B-B34F0655160D}" dt="2020-09-28T09:46:38.798" v="980" actId="207"/>
        <pc:sldMkLst>
          <pc:docMk/>
          <pc:sldMk cId="4102214970" sldId="2447"/>
        </pc:sldMkLst>
        <pc:spChg chg="mod">
          <ac:chgData name="Eldert Grootenboer" userId="3fe8758b2c2b58d2" providerId="LiveId" clId="{D34A150A-92A7-4B11-900B-B34F0655160D}" dt="2020-09-28T09:43:42.627" v="864" actId="20577"/>
          <ac:spMkLst>
            <pc:docMk/>
            <pc:sldMk cId="4102214970" sldId="2447"/>
            <ac:spMk id="2" creationId="{00000000-0000-0000-0000-000000000000}"/>
          </ac:spMkLst>
        </pc:spChg>
        <pc:graphicFrameChg chg="add mod">
          <ac:chgData name="Eldert Grootenboer" userId="3fe8758b2c2b58d2" providerId="LiveId" clId="{D34A150A-92A7-4B11-900B-B34F0655160D}" dt="2020-09-28T09:46:38.798" v="980" actId="207"/>
          <ac:graphicFrameMkLst>
            <pc:docMk/>
            <pc:sldMk cId="4102214970" sldId="2447"/>
            <ac:graphicFrameMk id="9" creationId="{656B2E98-E922-470E-85A5-4A5392B97242}"/>
          </ac:graphicFrameMkLst>
        </pc:graphicFrameChg>
      </pc:sldChg>
      <pc:sldChg chg="add del">
        <pc:chgData name="Eldert Grootenboer" userId="3fe8758b2c2b58d2" providerId="LiveId" clId="{D34A150A-92A7-4B11-900B-B34F0655160D}" dt="2020-09-27T11:24:07.026" v="27" actId="47"/>
        <pc:sldMkLst>
          <pc:docMk/>
          <pc:sldMk cId="1371537393" sldId="2466"/>
        </pc:sldMkLst>
      </pc:sldChg>
      <pc:sldChg chg="add del">
        <pc:chgData name="Eldert Grootenboer" userId="3fe8758b2c2b58d2" providerId="LiveId" clId="{D34A150A-92A7-4B11-900B-B34F0655160D}" dt="2020-09-27T11:24:07.026" v="27" actId="47"/>
        <pc:sldMkLst>
          <pc:docMk/>
          <pc:sldMk cId="2442968695" sldId="2468"/>
        </pc:sldMkLst>
      </pc:sldChg>
      <pc:sldChg chg="add del">
        <pc:chgData name="Eldert Grootenboer" userId="3fe8758b2c2b58d2" providerId="LiveId" clId="{D34A150A-92A7-4B11-900B-B34F0655160D}" dt="2020-09-27T11:24:07.026" v="27" actId="47"/>
        <pc:sldMkLst>
          <pc:docMk/>
          <pc:sldMk cId="1273414106" sldId="2470"/>
        </pc:sldMkLst>
      </pc:sldChg>
      <pc:sldChg chg="add del">
        <pc:chgData name="Eldert Grootenboer" userId="3fe8758b2c2b58d2" providerId="LiveId" clId="{D34A150A-92A7-4B11-900B-B34F0655160D}" dt="2020-09-27T11:24:07.026" v="27" actId="47"/>
        <pc:sldMkLst>
          <pc:docMk/>
          <pc:sldMk cId="3003157003" sldId="2471"/>
        </pc:sldMkLst>
      </pc:sldChg>
      <pc:sldChg chg="add del">
        <pc:chgData name="Eldert Grootenboer" userId="3fe8758b2c2b58d2" providerId="LiveId" clId="{D34A150A-92A7-4B11-900B-B34F0655160D}" dt="2020-09-27T11:24:07.026" v="27" actId="47"/>
        <pc:sldMkLst>
          <pc:docMk/>
          <pc:sldMk cId="3750077322" sldId="2472"/>
        </pc:sldMkLst>
      </pc:sldChg>
      <pc:sldChg chg="add del">
        <pc:chgData name="Eldert Grootenboer" userId="3fe8758b2c2b58d2" providerId="LiveId" clId="{D34A150A-92A7-4B11-900B-B34F0655160D}" dt="2020-09-27T11:24:07.026" v="27" actId="47"/>
        <pc:sldMkLst>
          <pc:docMk/>
          <pc:sldMk cId="2001695294" sldId="2473"/>
        </pc:sldMkLst>
      </pc:sldChg>
      <pc:sldChg chg="add del">
        <pc:chgData name="Eldert Grootenboer" userId="3fe8758b2c2b58d2" providerId="LiveId" clId="{D34A150A-92A7-4B11-900B-B34F0655160D}" dt="2020-09-27T11:24:07.026" v="27" actId="47"/>
        <pc:sldMkLst>
          <pc:docMk/>
          <pc:sldMk cId="2481898040" sldId="2474"/>
        </pc:sldMkLst>
      </pc:sldChg>
      <pc:sldChg chg="add del">
        <pc:chgData name="Eldert Grootenboer" userId="3fe8758b2c2b58d2" providerId="LiveId" clId="{D34A150A-92A7-4B11-900B-B34F0655160D}" dt="2020-09-27T11:24:07.026" v="27" actId="47"/>
        <pc:sldMkLst>
          <pc:docMk/>
          <pc:sldMk cId="153154303" sldId="2475"/>
        </pc:sldMkLst>
      </pc:sldChg>
      <pc:sldChg chg="add del">
        <pc:chgData name="Eldert Grootenboer" userId="3fe8758b2c2b58d2" providerId="LiveId" clId="{D34A150A-92A7-4B11-900B-B34F0655160D}" dt="2020-09-27T11:24:07.026" v="27" actId="47"/>
        <pc:sldMkLst>
          <pc:docMk/>
          <pc:sldMk cId="2733932280" sldId="2476"/>
        </pc:sldMkLst>
      </pc:sldChg>
      <pc:sldChg chg="add del">
        <pc:chgData name="Eldert Grootenboer" userId="3fe8758b2c2b58d2" providerId="LiveId" clId="{D34A150A-92A7-4B11-900B-B34F0655160D}" dt="2020-09-27T11:24:07.026" v="27" actId="47"/>
        <pc:sldMkLst>
          <pc:docMk/>
          <pc:sldMk cId="1204489014" sldId="2477"/>
        </pc:sldMkLst>
      </pc:sldChg>
      <pc:sldChg chg="add del">
        <pc:chgData name="Eldert Grootenboer" userId="3fe8758b2c2b58d2" providerId="LiveId" clId="{D34A150A-92A7-4B11-900B-B34F0655160D}" dt="2020-09-27T11:24:07.026" v="27" actId="47"/>
        <pc:sldMkLst>
          <pc:docMk/>
          <pc:sldMk cId="3009207040" sldId="2478"/>
        </pc:sldMkLst>
      </pc:sldChg>
      <pc:sldChg chg="add del">
        <pc:chgData name="Eldert Grootenboer" userId="3fe8758b2c2b58d2" providerId="LiveId" clId="{D34A150A-92A7-4B11-900B-B34F0655160D}" dt="2020-09-27T11:24:07.026" v="27" actId="47"/>
        <pc:sldMkLst>
          <pc:docMk/>
          <pc:sldMk cId="2018705741" sldId="2479"/>
        </pc:sldMkLst>
      </pc:sldChg>
      <pc:sldChg chg="add del">
        <pc:chgData name="Eldert Grootenboer" userId="3fe8758b2c2b58d2" providerId="LiveId" clId="{D34A150A-92A7-4B11-900B-B34F0655160D}" dt="2020-09-27T11:24:07.026" v="27" actId="47"/>
        <pc:sldMkLst>
          <pc:docMk/>
          <pc:sldMk cId="3010686152" sldId="2480"/>
        </pc:sldMkLst>
      </pc:sldChg>
      <pc:sldChg chg="add del">
        <pc:chgData name="Eldert Grootenboer" userId="3fe8758b2c2b58d2" providerId="LiveId" clId="{D34A150A-92A7-4B11-900B-B34F0655160D}" dt="2020-09-27T11:24:07.026" v="27" actId="47"/>
        <pc:sldMkLst>
          <pc:docMk/>
          <pc:sldMk cId="2714315879" sldId="2481"/>
        </pc:sldMkLst>
      </pc:sldChg>
      <pc:sldChg chg="add del">
        <pc:chgData name="Eldert Grootenboer" userId="3fe8758b2c2b58d2" providerId="LiveId" clId="{D34A150A-92A7-4B11-900B-B34F0655160D}" dt="2020-09-27T11:24:07.026" v="27" actId="47"/>
        <pc:sldMkLst>
          <pc:docMk/>
          <pc:sldMk cId="432779400" sldId="2483"/>
        </pc:sldMkLst>
      </pc:sldChg>
      <pc:sldChg chg="add del">
        <pc:chgData name="Eldert Grootenboer" userId="3fe8758b2c2b58d2" providerId="LiveId" clId="{D34A150A-92A7-4B11-900B-B34F0655160D}" dt="2020-09-27T11:24:07.026" v="27" actId="47"/>
        <pc:sldMkLst>
          <pc:docMk/>
          <pc:sldMk cId="2308237534" sldId="2484"/>
        </pc:sldMkLst>
      </pc:sldChg>
      <pc:sldChg chg="add del">
        <pc:chgData name="Eldert Grootenboer" userId="3fe8758b2c2b58d2" providerId="LiveId" clId="{D34A150A-92A7-4B11-900B-B34F0655160D}" dt="2020-09-27T11:24:07.026" v="27" actId="47"/>
        <pc:sldMkLst>
          <pc:docMk/>
          <pc:sldMk cId="3174534937" sldId="2485"/>
        </pc:sldMkLst>
      </pc:sldChg>
      <pc:sldChg chg="add del">
        <pc:chgData name="Eldert Grootenboer" userId="3fe8758b2c2b58d2" providerId="LiveId" clId="{D34A150A-92A7-4B11-900B-B34F0655160D}" dt="2020-09-27T11:24:07.026" v="27" actId="47"/>
        <pc:sldMkLst>
          <pc:docMk/>
          <pc:sldMk cId="3830416597" sldId="2486"/>
        </pc:sldMkLst>
      </pc:sldChg>
      <pc:sldChg chg="add del">
        <pc:chgData name="Eldert Grootenboer" userId="3fe8758b2c2b58d2" providerId="LiveId" clId="{D34A150A-92A7-4B11-900B-B34F0655160D}" dt="2020-09-27T11:24:07.026" v="27" actId="47"/>
        <pc:sldMkLst>
          <pc:docMk/>
          <pc:sldMk cId="79465797" sldId="2487"/>
        </pc:sldMkLst>
      </pc:sldChg>
      <pc:sldChg chg="add del">
        <pc:chgData name="Eldert Grootenboer" userId="3fe8758b2c2b58d2" providerId="LiveId" clId="{D34A150A-92A7-4B11-900B-B34F0655160D}" dt="2020-09-27T11:24:07.026" v="27" actId="47"/>
        <pc:sldMkLst>
          <pc:docMk/>
          <pc:sldMk cId="4050874751" sldId="2488"/>
        </pc:sldMkLst>
      </pc:sldChg>
      <pc:sldChg chg="add del">
        <pc:chgData name="Eldert Grootenboer" userId="3fe8758b2c2b58d2" providerId="LiveId" clId="{D34A150A-92A7-4B11-900B-B34F0655160D}" dt="2020-09-27T11:24:07.026" v="27" actId="47"/>
        <pc:sldMkLst>
          <pc:docMk/>
          <pc:sldMk cId="3423999562" sldId="2489"/>
        </pc:sldMkLst>
      </pc:sldChg>
      <pc:sldChg chg="addSp modSp add mod modClrScheme chgLayout">
        <pc:chgData name="Eldert Grootenboer" userId="3fe8758b2c2b58d2" providerId="LiveId" clId="{D34A150A-92A7-4B11-900B-B34F0655160D}" dt="2020-09-28T09:38:54.808" v="792" actId="700"/>
        <pc:sldMkLst>
          <pc:docMk/>
          <pc:sldMk cId="2938939047" sldId="4478"/>
        </pc:sldMkLst>
        <pc:spChg chg="add mod ord">
          <ac:chgData name="Eldert Grootenboer" userId="3fe8758b2c2b58d2" providerId="LiveId" clId="{D34A150A-92A7-4B11-900B-B34F0655160D}" dt="2020-09-28T09:38:54.808" v="792" actId="700"/>
          <ac:spMkLst>
            <pc:docMk/>
            <pc:sldMk cId="2938939047" sldId="4478"/>
            <ac:spMk id="2" creationId="{A9DCB6DF-5F74-4EFA-9922-7C214909F566}"/>
          </ac:spMkLst>
        </pc:spChg>
        <pc:spChg chg="add mod ord">
          <ac:chgData name="Eldert Grootenboer" userId="3fe8758b2c2b58d2" providerId="LiveId" clId="{D34A150A-92A7-4B11-900B-B34F0655160D}" dt="2020-09-28T09:38:54.808" v="792" actId="700"/>
          <ac:spMkLst>
            <pc:docMk/>
            <pc:sldMk cId="2938939047" sldId="4478"/>
            <ac:spMk id="3" creationId="{F52D0845-A680-4A87-A236-1E6D9EB05157}"/>
          </ac:spMkLst>
        </pc:spChg>
      </pc:sldChg>
      <pc:sldChg chg="modSp add mod modClrScheme chgLayout">
        <pc:chgData name="Eldert Grootenboer" userId="3fe8758b2c2b58d2" providerId="LiveId" clId="{D34A150A-92A7-4B11-900B-B34F0655160D}" dt="2020-09-28T09:38:54.859" v="795" actId="27636"/>
        <pc:sldMkLst>
          <pc:docMk/>
          <pc:sldMk cId="3772566039" sldId="11159"/>
        </pc:sldMkLst>
        <pc:spChg chg="mod ord">
          <ac:chgData name="Eldert Grootenboer" userId="3fe8758b2c2b58d2" providerId="LiveId" clId="{D34A150A-92A7-4B11-900B-B34F0655160D}" dt="2020-09-28T09:38:54.859" v="795" actId="27636"/>
          <ac:spMkLst>
            <pc:docMk/>
            <pc:sldMk cId="3772566039" sldId="11159"/>
            <ac:spMk id="6" creationId="{00000000-0000-0000-0000-000000000000}"/>
          </ac:spMkLst>
        </pc:spChg>
        <pc:spChg chg="mod ord">
          <ac:chgData name="Eldert Grootenboer" userId="3fe8758b2c2b58d2" providerId="LiveId" clId="{D34A150A-92A7-4B11-900B-B34F0655160D}" dt="2020-09-28T09:38:54.808" v="792" actId="700"/>
          <ac:spMkLst>
            <pc:docMk/>
            <pc:sldMk cId="3772566039" sldId="11159"/>
            <ac:spMk id="17" creationId="{00000000-0000-0000-0000-000000000000}"/>
          </ac:spMkLst>
        </pc:spChg>
      </pc:sldChg>
      <pc:sldChg chg="addSp modSp add mod modClrScheme chgLayout">
        <pc:chgData name="Eldert Grootenboer" userId="3fe8758b2c2b58d2" providerId="LiveId" clId="{D34A150A-92A7-4B11-900B-B34F0655160D}" dt="2020-09-28T09:38:54.808" v="792" actId="700"/>
        <pc:sldMkLst>
          <pc:docMk/>
          <pc:sldMk cId="3793907693" sldId="2076137189"/>
        </pc:sldMkLst>
        <pc:spChg chg="add mod ord">
          <ac:chgData name="Eldert Grootenboer" userId="3fe8758b2c2b58d2" providerId="LiveId" clId="{D34A150A-92A7-4B11-900B-B34F0655160D}" dt="2020-09-28T09:38:54.808" v="792" actId="700"/>
          <ac:spMkLst>
            <pc:docMk/>
            <pc:sldMk cId="3793907693" sldId="2076137189"/>
            <ac:spMk id="2" creationId="{BB0412AF-947A-4552-AA80-492187176674}"/>
          </ac:spMkLst>
        </pc:spChg>
        <pc:spChg chg="add mod ord">
          <ac:chgData name="Eldert Grootenboer" userId="3fe8758b2c2b58d2" providerId="LiveId" clId="{D34A150A-92A7-4B11-900B-B34F0655160D}" dt="2020-09-28T09:38:54.808" v="792" actId="700"/>
          <ac:spMkLst>
            <pc:docMk/>
            <pc:sldMk cId="3793907693" sldId="2076137189"/>
            <ac:spMk id="4" creationId="{937AC3B8-BE4D-4785-838B-55F0538CECCC}"/>
          </ac:spMkLst>
        </pc:spChg>
      </pc:sldChg>
      <pc:sldChg chg="addSp modSp add mod modClrScheme chgLayout">
        <pc:chgData name="Eldert Grootenboer" userId="3fe8758b2c2b58d2" providerId="LiveId" clId="{D34A150A-92A7-4B11-900B-B34F0655160D}" dt="2020-09-28T09:38:54.808" v="792" actId="700"/>
        <pc:sldMkLst>
          <pc:docMk/>
          <pc:sldMk cId="3103027669" sldId="2076137328"/>
        </pc:sldMkLst>
        <pc:spChg chg="add mod ord">
          <ac:chgData name="Eldert Grootenboer" userId="3fe8758b2c2b58d2" providerId="LiveId" clId="{D34A150A-92A7-4B11-900B-B34F0655160D}" dt="2020-09-28T09:38:54.808" v="792" actId="700"/>
          <ac:spMkLst>
            <pc:docMk/>
            <pc:sldMk cId="3103027669" sldId="2076137328"/>
            <ac:spMk id="2" creationId="{8CC20494-D614-4407-9231-83B41A6379AD}"/>
          </ac:spMkLst>
        </pc:spChg>
        <pc:spChg chg="add mod ord">
          <ac:chgData name="Eldert Grootenboer" userId="3fe8758b2c2b58d2" providerId="LiveId" clId="{D34A150A-92A7-4B11-900B-B34F0655160D}" dt="2020-09-28T09:38:54.808" v="792" actId="700"/>
          <ac:spMkLst>
            <pc:docMk/>
            <pc:sldMk cId="3103027669" sldId="2076137328"/>
            <ac:spMk id="3" creationId="{3DC84C1D-6BCD-4DB4-B464-17BFBEBBC650}"/>
          </ac:spMkLst>
        </pc:spChg>
      </pc:sldChg>
      <pc:sldChg chg="addSp modSp add mod modClrScheme chgLayout">
        <pc:chgData name="Eldert Grootenboer" userId="3fe8758b2c2b58d2" providerId="LiveId" clId="{D34A150A-92A7-4B11-900B-B34F0655160D}" dt="2020-09-28T09:38:54.808" v="792" actId="700"/>
        <pc:sldMkLst>
          <pc:docMk/>
          <pc:sldMk cId="370182793" sldId="2076137340"/>
        </pc:sldMkLst>
        <pc:spChg chg="add mod ord">
          <ac:chgData name="Eldert Grootenboer" userId="3fe8758b2c2b58d2" providerId="LiveId" clId="{D34A150A-92A7-4B11-900B-B34F0655160D}" dt="2020-09-28T09:38:54.808" v="792" actId="700"/>
          <ac:spMkLst>
            <pc:docMk/>
            <pc:sldMk cId="370182793" sldId="2076137340"/>
            <ac:spMk id="2" creationId="{F28799E9-D327-4005-B42A-D1F4F1073AA3}"/>
          </ac:spMkLst>
        </pc:spChg>
        <pc:spChg chg="mod ord">
          <ac:chgData name="Eldert Grootenboer" userId="3fe8758b2c2b58d2" providerId="LiveId" clId="{D34A150A-92A7-4B11-900B-B34F0655160D}" dt="2020-09-28T09:38:54.808" v="792" actId="700"/>
          <ac:spMkLst>
            <pc:docMk/>
            <pc:sldMk cId="370182793" sldId="2076137340"/>
            <ac:spMk id="4" creationId="{E30449F1-79AA-4943-9639-7DCA7258DA0E}"/>
          </ac:spMkLst>
        </pc:spChg>
      </pc:sldChg>
      <pc:sldChg chg="addSp modSp add mod modClrScheme chgLayout">
        <pc:chgData name="Eldert Grootenboer" userId="3fe8758b2c2b58d2" providerId="LiveId" clId="{D34A150A-92A7-4B11-900B-B34F0655160D}" dt="2020-09-28T09:38:54.808" v="792" actId="700"/>
        <pc:sldMkLst>
          <pc:docMk/>
          <pc:sldMk cId="599185183" sldId="2076138643"/>
        </pc:sldMkLst>
        <pc:spChg chg="add mod ord">
          <ac:chgData name="Eldert Grootenboer" userId="3fe8758b2c2b58d2" providerId="LiveId" clId="{D34A150A-92A7-4B11-900B-B34F0655160D}" dt="2020-09-28T09:38:54.808" v="792" actId="700"/>
          <ac:spMkLst>
            <pc:docMk/>
            <pc:sldMk cId="599185183" sldId="2076138643"/>
            <ac:spMk id="3" creationId="{1C92B4D0-A5F3-44D8-B094-BE2EF6E0C48E}"/>
          </ac:spMkLst>
        </pc:spChg>
        <pc:spChg chg="add mod ord">
          <ac:chgData name="Eldert Grootenboer" userId="3fe8758b2c2b58d2" providerId="LiveId" clId="{D34A150A-92A7-4B11-900B-B34F0655160D}" dt="2020-09-28T09:38:54.808" v="792" actId="700"/>
          <ac:spMkLst>
            <pc:docMk/>
            <pc:sldMk cId="599185183" sldId="2076138643"/>
            <ac:spMk id="4" creationId="{D91DC5DD-E8F5-4608-A797-7D961CEF6DE8}"/>
          </ac:spMkLst>
        </pc:spChg>
      </pc:sldChg>
      <pc:sldChg chg="addSp modSp add mod modClrScheme chgLayout">
        <pc:chgData name="Eldert Grootenboer" userId="3fe8758b2c2b58d2" providerId="LiveId" clId="{D34A150A-92A7-4B11-900B-B34F0655160D}" dt="2020-09-28T09:38:54.808" v="792" actId="700"/>
        <pc:sldMkLst>
          <pc:docMk/>
          <pc:sldMk cId="2403904382" sldId="2076138660"/>
        </pc:sldMkLst>
        <pc:spChg chg="add mod ord">
          <ac:chgData name="Eldert Grootenboer" userId="3fe8758b2c2b58d2" providerId="LiveId" clId="{D34A150A-92A7-4B11-900B-B34F0655160D}" dt="2020-09-28T09:38:54.808" v="792" actId="700"/>
          <ac:spMkLst>
            <pc:docMk/>
            <pc:sldMk cId="2403904382" sldId="2076138660"/>
            <ac:spMk id="2" creationId="{EDAE8FCC-207D-450C-993A-17581DF6723D}"/>
          </ac:spMkLst>
        </pc:spChg>
        <pc:spChg chg="add mod ord">
          <ac:chgData name="Eldert Grootenboer" userId="3fe8758b2c2b58d2" providerId="LiveId" clId="{D34A150A-92A7-4B11-900B-B34F0655160D}" dt="2020-09-28T09:38:54.808" v="792" actId="700"/>
          <ac:spMkLst>
            <pc:docMk/>
            <pc:sldMk cId="2403904382" sldId="2076138660"/>
            <ac:spMk id="4" creationId="{B11D4080-2E61-45E5-AD23-28BA622BF32F}"/>
          </ac:spMkLst>
        </pc:spChg>
      </pc:sldChg>
      <pc:sldChg chg="modSp add mod modClrScheme chgLayout">
        <pc:chgData name="Eldert Grootenboer" userId="3fe8758b2c2b58d2" providerId="LiveId" clId="{D34A150A-92A7-4B11-900B-B34F0655160D}" dt="2020-09-28T09:38:54.808" v="792" actId="700"/>
        <pc:sldMkLst>
          <pc:docMk/>
          <pc:sldMk cId="2925302317" sldId="2076138684"/>
        </pc:sldMkLst>
        <pc:spChg chg="mod ord">
          <ac:chgData name="Eldert Grootenboer" userId="3fe8758b2c2b58d2" providerId="LiveId" clId="{D34A150A-92A7-4B11-900B-B34F0655160D}" dt="2020-09-28T09:38:54.808" v="792" actId="700"/>
          <ac:spMkLst>
            <pc:docMk/>
            <pc:sldMk cId="2925302317" sldId="2076138684"/>
            <ac:spMk id="2" creationId="{48CD958E-134C-419F-AC2C-037D159C8642}"/>
          </ac:spMkLst>
        </pc:spChg>
        <pc:spChg chg="mod ord">
          <ac:chgData name="Eldert Grootenboer" userId="3fe8758b2c2b58d2" providerId="LiveId" clId="{D34A150A-92A7-4B11-900B-B34F0655160D}" dt="2020-09-28T09:38:54.808" v="792" actId="700"/>
          <ac:spMkLst>
            <pc:docMk/>
            <pc:sldMk cId="2925302317" sldId="2076138684"/>
            <ac:spMk id="8" creationId="{4E0A9655-4E85-4E5D-8DE8-82D6557E45DC}"/>
          </ac:spMkLst>
        </pc:spChg>
        <pc:picChg chg="mod ord">
          <ac:chgData name="Eldert Grootenboer" userId="3fe8758b2c2b58d2" providerId="LiveId" clId="{D34A150A-92A7-4B11-900B-B34F0655160D}" dt="2020-09-28T09:38:54.808" v="792" actId="700"/>
          <ac:picMkLst>
            <pc:docMk/>
            <pc:sldMk cId="2925302317" sldId="2076138684"/>
            <ac:picMk id="12" creationId="{07E9A5E4-102D-4AE0-8C52-611156A44D38}"/>
          </ac:picMkLst>
        </pc:picChg>
      </pc:sldChg>
      <pc:sldChg chg="addSp modSp add mod modTransition modClrScheme chgLayout">
        <pc:chgData name="Eldert Grootenboer" userId="3fe8758b2c2b58d2" providerId="LiveId" clId="{D34A150A-92A7-4B11-900B-B34F0655160D}" dt="2020-09-28T09:38:54.808" v="792" actId="700"/>
        <pc:sldMkLst>
          <pc:docMk/>
          <pc:sldMk cId="3589390547" sldId="2076138692"/>
        </pc:sldMkLst>
        <pc:spChg chg="add mod ord">
          <ac:chgData name="Eldert Grootenboer" userId="3fe8758b2c2b58d2" providerId="LiveId" clId="{D34A150A-92A7-4B11-900B-B34F0655160D}" dt="2020-09-28T09:38:54.808" v="792" actId="700"/>
          <ac:spMkLst>
            <pc:docMk/>
            <pc:sldMk cId="3589390547" sldId="2076138692"/>
            <ac:spMk id="2" creationId="{483FF252-7475-4B06-889F-D6AD0EEA864B}"/>
          </ac:spMkLst>
        </pc:spChg>
        <pc:spChg chg="mod ord">
          <ac:chgData name="Eldert Grootenboer" userId="3fe8758b2c2b58d2" providerId="LiveId" clId="{D34A150A-92A7-4B11-900B-B34F0655160D}" dt="2020-09-28T09:38:54.808" v="792" actId="700"/>
          <ac:spMkLst>
            <pc:docMk/>
            <pc:sldMk cId="3589390547" sldId="2076138692"/>
            <ac:spMk id="7" creationId="{7A7ABEE0-75D2-B047-937B-41BDC56F794E}"/>
          </ac:spMkLst>
        </pc:spChg>
      </pc:sldChg>
      <pc:sldChg chg="addSp modSp add mod modClrScheme chgLayout">
        <pc:chgData name="Eldert Grootenboer" userId="3fe8758b2c2b58d2" providerId="LiveId" clId="{D34A150A-92A7-4B11-900B-B34F0655160D}" dt="2020-09-28T09:38:54.808" v="792" actId="700"/>
        <pc:sldMkLst>
          <pc:docMk/>
          <pc:sldMk cId="55988965" sldId="2076138697"/>
        </pc:sldMkLst>
        <pc:spChg chg="add mod ord">
          <ac:chgData name="Eldert Grootenboer" userId="3fe8758b2c2b58d2" providerId="LiveId" clId="{D34A150A-92A7-4B11-900B-B34F0655160D}" dt="2020-09-28T09:38:54.808" v="792" actId="700"/>
          <ac:spMkLst>
            <pc:docMk/>
            <pc:sldMk cId="55988965" sldId="2076138697"/>
            <ac:spMk id="3" creationId="{9BF51908-4F8B-46DE-9A62-4380E1CFBD2A}"/>
          </ac:spMkLst>
        </pc:spChg>
        <pc:spChg chg="add mod ord">
          <ac:chgData name="Eldert Grootenboer" userId="3fe8758b2c2b58d2" providerId="LiveId" clId="{D34A150A-92A7-4B11-900B-B34F0655160D}" dt="2020-09-28T09:38:54.808" v="792" actId="700"/>
          <ac:spMkLst>
            <pc:docMk/>
            <pc:sldMk cId="55988965" sldId="2076138697"/>
            <ac:spMk id="8" creationId="{D9817754-AEFF-4C12-BE43-80057D330198}"/>
          </ac:spMkLst>
        </pc:spChg>
      </pc:sldChg>
      <pc:sldChg chg="addSp modSp add mod modTransition modClrScheme chgLayout">
        <pc:chgData name="Eldert Grootenboer" userId="3fe8758b2c2b58d2" providerId="LiveId" clId="{D34A150A-92A7-4B11-900B-B34F0655160D}" dt="2020-09-28T09:38:54.808" v="792" actId="700"/>
        <pc:sldMkLst>
          <pc:docMk/>
          <pc:sldMk cId="4109659047" sldId="2076138700"/>
        </pc:sldMkLst>
        <pc:spChg chg="mod ord">
          <ac:chgData name="Eldert Grootenboer" userId="3fe8758b2c2b58d2" providerId="LiveId" clId="{D34A150A-92A7-4B11-900B-B34F0655160D}" dt="2020-09-28T09:38:54.808" v="792" actId="700"/>
          <ac:spMkLst>
            <pc:docMk/>
            <pc:sldMk cId="4109659047" sldId="2076138700"/>
            <ac:spMk id="2" creationId="{A518D12D-1174-457D-86AB-5E588DEE2532}"/>
          </ac:spMkLst>
        </pc:spChg>
        <pc:spChg chg="add mod ord">
          <ac:chgData name="Eldert Grootenboer" userId="3fe8758b2c2b58d2" providerId="LiveId" clId="{D34A150A-92A7-4B11-900B-B34F0655160D}" dt="2020-09-28T09:38:54.808" v="792" actId="700"/>
          <ac:spMkLst>
            <pc:docMk/>
            <pc:sldMk cId="4109659047" sldId="2076138700"/>
            <ac:spMk id="3" creationId="{AF2A521A-07D9-4ED8-AD22-BCA9A7D1D93A}"/>
          </ac:spMkLst>
        </pc:spChg>
      </pc:sldChg>
      <pc:sldChg chg="addSp modSp add mod modTransition modClrScheme chgLayout">
        <pc:chgData name="Eldert Grootenboer" userId="3fe8758b2c2b58d2" providerId="LiveId" clId="{D34A150A-92A7-4B11-900B-B34F0655160D}" dt="2020-09-28T09:38:54.808" v="792" actId="700"/>
        <pc:sldMkLst>
          <pc:docMk/>
          <pc:sldMk cId="410130775" sldId="2076138701"/>
        </pc:sldMkLst>
        <pc:spChg chg="mod ord">
          <ac:chgData name="Eldert Grootenboer" userId="3fe8758b2c2b58d2" providerId="LiveId" clId="{D34A150A-92A7-4B11-900B-B34F0655160D}" dt="2020-09-28T09:38:54.808" v="792" actId="700"/>
          <ac:spMkLst>
            <pc:docMk/>
            <pc:sldMk cId="410130775" sldId="2076138701"/>
            <ac:spMk id="2" creationId="{A518D12D-1174-457D-86AB-5E588DEE2532}"/>
          </ac:spMkLst>
        </pc:spChg>
        <pc:spChg chg="add mod ord">
          <ac:chgData name="Eldert Grootenboer" userId="3fe8758b2c2b58d2" providerId="LiveId" clId="{D34A150A-92A7-4B11-900B-B34F0655160D}" dt="2020-09-28T09:38:54.808" v="792" actId="700"/>
          <ac:spMkLst>
            <pc:docMk/>
            <pc:sldMk cId="410130775" sldId="2076138701"/>
            <ac:spMk id="3" creationId="{6FC85E56-62EE-45B9-AC89-8776FAC81BC9}"/>
          </ac:spMkLst>
        </pc:spChg>
      </pc:sldChg>
      <pc:sldChg chg="addSp modSp add mod modTransition modClrScheme chgLayout">
        <pc:chgData name="Eldert Grootenboer" userId="3fe8758b2c2b58d2" providerId="LiveId" clId="{D34A150A-92A7-4B11-900B-B34F0655160D}" dt="2020-09-28T09:38:54.808" v="792" actId="700"/>
        <pc:sldMkLst>
          <pc:docMk/>
          <pc:sldMk cId="2889694638" sldId="2076138703"/>
        </pc:sldMkLst>
        <pc:spChg chg="mod ord">
          <ac:chgData name="Eldert Grootenboer" userId="3fe8758b2c2b58d2" providerId="LiveId" clId="{D34A150A-92A7-4B11-900B-B34F0655160D}" dt="2020-09-28T09:38:54.808" v="792" actId="700"/>
          <ac:spMkLst>
            <pc:docMk/>
            <pc:sldMk cId="2889694638" sldId="2076138703"/>
            <ac:spMk id="2" creationId="{A518D12D-1174-457D-86AB-5E588DEE2532}"/>
          </ac:spMkLst>
        </pc:spChg>
        <pc:spChg chg="add mod ord">
          <ac:chgData name="Eldert Grootenboer" userId="3fe8758b2c2b58d2" providerId="LiveId" clId="{D34A150A-92A7-4B11-900B-B34F0655160D}" dt="2020-09-28T09:38:54.808" v="792" actId="700"/>
          <ac:spMkLst>
            <pc:docMk/>
            <pc:sldMk cId="2889694638" sldId="2076138703"/>
            <ac:spMk id="3" creationId="{1EC9BF7E-D792-4DDF-A3D0-66B335FB4762}"/>
          </ac:spMkLst>
        </pc:spChg>
      </pc:sldChg>
      <pc:sldChg chg="addSp delSp modSp new del mod modClrScheme chgLayout">
        <pc:chgData name="Eldert Grootenboer" userId="3fe8758b2c2b58d2" providerId="LiveId" clId="{D34A150A-92A7-4B11-900B-B34F0655160D}" dt="2020-09-28T09:43:01.318" v="814" actId="47"/>
        <pc:sldMkLst>
          <pc:docMk/>
          <pc:sldMk cId="3143117968" sldId="2076138704"/>
        </pc:sldMkLst>
        <pc:spChg chg="del mod ord">
          <ac:chgData name="Eldert Grootenboer" userId="3fe8758b2c2b58d2" providerId="LiveId" clId="{D34A150A-92A7-4B11-900B-B34F0655160D}" dt="2020-09-27T13:25:51.914" v="80" actId="700"/>
          <ac:spMkLst>
            <pc:docMk/>
            <pc:sldMk cId="3143117968" sldId="2076138704"/>
            <ac:spMk id="2" creationId="{168E58FC-CD5F-44A9-9B14-5898A15A950F}"/>
          </ac:spMkLst>
        </pc:spChg>
        <pc:spChg chg="add mod ord">
          <ac:chgData name="Eldert Grootenboer" userId="3fe8758b2c2b58d2" providerId="LiveId" clId="{D34A150A-92A7-4B11-900B-B34F0655160D}" dt="2020-09-28T09:35:14.789" v="788" actId="20577"/>
          <ac:spMkLst>
            <pc:docMk/>
            <pc:sldMk cId="3143117968" sldId="2076138704"/>
            <ac:spMk id="3" creationId="{1AAE2E49-336B-4737-B642-D8DF3A192F32}"/>
          </ac:spMkLst>
        </pc:spChg>
        <pc:spChg chg="add mod ord">
          <ac:chgData name="Eldert Grootenboer" userId="3fe8758b2c2b58d2" providerId="LiveId" clId="{D34A150A-92A7-4B11-900B-B34F0655160D}" dt="2020-09-27T13:27:11.325" v="241" actId="20577"/>
          <ac:spMkLst>
            <pc:docMk/>
            <pc:sldMk cId="3143117968" sldId="2076138704"/>
            <ac:spMk id="4" creationId="{43022EF5-FF20-4AC5-AFDB-1D0AE10F12D9}"/>
          </ac:spMkLst>
        </pc:spChg>
      </pc:sldChg>
      <pc:sldChg chg="addSp delSp modSp new mod">
        <pc:chgData name="Eldert Grootenboer" userId="3fe8758b2c2b58d2" providerId="LiveId" clId="{D34A150A-92A7-4B11-900B-B34F0655160D}" dt="2020-09-27T13:27:34.666" v="243" actId="22"/>
        <pc:sldMkLst>
          <pc:docMk/>
          <pc:sldMk cId="3169903980" sldId="2076138705"/>
        </pc:sldMkLst>
        <pc:spChg chg="del">
          <ac:chgData name="Eldert Grootenboer" userId="3fe8758b2c2b58d2" providerId="LiveId" clId="{D34A150A-92A7-4B11-900B-B34F0655160D}" dt="2020-09-27T13:27:34.666" v="243" actId="22"/>
          <ac:spMkLst>
            <pc:docMk/>
            <pc:sldMk cId="3169903980" sldId="2076138705"/>
            <ac:spMk id="3" creationId="{2F333254-FDEB-4AEF-838B-70DBC3A2C9D6}"/>
          </ac:spMkLst>
        </pc:spChg>
        <pc:picChg chg="add mod ord">
          <ac:chgData name="Eldert Grootenboer" userId="3fe8758b2c2b58d2" providerId="LiveId" clId="{D34A150A-92A7-4B11-900B-B34F0655160D}" dt="2020-09-27T13:27:34.666" v="243" actId="22"/>
          <ac:picMkLst>
            <pc:docMk/>
            <pc:sldMk cId="3169903980" sldId="2076138705"/>
            <ac:picMk id="5" creationId="{4194F9D3-2251-4D09-A790-6F87AE22CAD0}"/>
          </ac:picMkLst>
        </pc:picChg>
      </pc:sldChg>
      <pc:sldChg chg="addSp delSp modSp new mod chgLayout">
        <pc:chgData name="Eldert Grootenboer" userId="3fe8758b2c2b58d2" providerId="LiveId" clId="{D34A150A-92A7-4B11-900B-B34F0655160D}" dt="2020-09-28T09:38:54.808" v="792" actId="700"/>
        <pc:sldMkLst>
          <pc:docMk/>
          <pc:sldMk cId="2853625060" sldId="2076138706"/>
        </pc:sldMkLst>
        <pc:spChg chg="del">
          <ac:chgData name="Eldert Grootenboer" userId="3fe8758b2c2b58d2" providerId="LiveId" clId="{D34A150A-92A7-4B11-900B-B34F0655160D}" dt="2020-09-28T09:38:54.808" v="792" actId="700"/>
          <ac:spMkLst>
            <pc:docMk/>
            <pc:sldMk cId="2853625060" sldId="2076138706"/>
            <ac:spMk id="2" creationId="{40CE32B3-F1AC-49AC-9C13-B26D0A2EE82F}"/>
          </ac:spMkLst>
        </pc:spChg>
        <pc:spChg chg="mod ord">
          <ac:chgData name="Eldert Grootenboer" userId="3fe8758b2c2b58d2" providerId="LiveId" clId="{D34A150A-92A7-4B11-900B-B34F0655160D}" dt="2020-09-28T09:38:54.808" v="792" actId="700"/>
          <ac:spMkLst>
            <pc:docMk/>
            <pc:sldMk cId="2853625060" sldId="2076138706"/>
            <ac:spMk id="3" creationId="{192B588F-53E5-423B-BA35-DBC158116AEE}"/>
          </ac:spMkLst>
        </pc:spChg>
        <pc:spChg chg="add mod ord">
          <ac:chgData name="Eldert Grootenboer" userId="3fe8758b2c2b58d2" providerId="LiveId" clId="{D34A150A-92A7-4B11-900B-B34F0655160D}" dt="2020-09-28T09:38:54.808" v="792" actId="700"/>
          <ac:spMkLst>
            <pc:docMk/>
            <pc:sldMk cId="2853625060" sldId="2076138706"/>
            <ac:spMk id="4" creationId="{0FC89EE7-993A-48B2-BB3E-8F02C567E9A4}"/>
          </ac:spMkLst>
        </pc:spChg>
        <pc:picChg chg="add del">
          <ac:chgData name="Eldert Grootenboer" userId="3fe8758b2c2b58d2" providerId="LiveId" clId="{D34A150A-92A7-4B11-900B-B34F0655160D}" dt="2020-09-27T13:42:53.307" v="397" actId="22"/>
          <ac:picMkLst>
            <pc:docMk/>
            <pc:sldMk cId="2853625060" sldId="2076138706"/>
            <ac:picMk id="5" creationId="{0E28CFCD-7F82-40BF-9ADC-38B36FC87833}"/>
          </ac:picMkLst>
        </pc:picChg>
      </pc:sldChg>
      <pc:sldChg chg="addSp modSp new mod modClrScheme chgLayout">
        <pc:chgData name="Eldert Grootenboer" userId="3fe8758b2c2b58d2" providerId="LiveId" clId="{D34A150A-92A7-4B11-900B-B34F0655160D}" dt="2020-09-28T09:38:54.808" v="792" actId="700"/>
        <pc:sldMkLst>
          <pc:docMk/>
          <pc:sldMk cId="728681278" sldId="2076138707"/>
        </pc:sldMkLst>
        <pc:spChg chg="add mod ord">
          <ac:chgData name="Eldert Grootenboer" userId="3fe8758b2c2b58d2" providerId="LiveId" clId="{D34A150A-92A7-4B11-900B-B34F0655160D}" dt="2020-09-28T09:38:54.808" v="792" actId="700"/>
          <ac:spMkLst>
            <pc:docMk/>
            <pc:sldMk cId="728681278" sldId="2076138707"/>
            <ac:spMk id="2" creationId="{D93CB8C0-9E84-4690-B23F-45DAC7D6E5D9}"/>
          </ac:spMkLst>
        </pc:spChg>
        <pc:spChg chg="add mod ord">
          <ac:chgData name="Eldert Grootenboer" userId="3fe8758b2c2b58d2" providerId="LiveId" clId="{D34A150A-92A7-4B11-900B-B34F0655160D}" dt="2020-09-28T09:38:54.808" v="792" actId="700"/>
          <ac:spMkLst>
            <pc:docMk/>
            <pc:sldMk cId="728681278" sldId="2076138707"/>
            <ac:spMk id="4" creationId="{34FBDFE4-91E4-449C-9B88-B440892E8B46}"/>
          </ac:spMkLst>
        </pc:spChg>
        <pc:picChg chg="add">
          <ac:chgData name="Eldert Grootenboer" userId="3fe8758b2c2b58d2" providerId="LiveId" clId="{D34A150A-92A7-4B11-900B-B34F0655160D}" dt="2020-09-27T13:32:14.237" v="307" actId="22"/>
          <ac:picMkLst>
            <pc:docMk/>
            <pc:sldMk cId="728681278" sldId="2076138707"/>
            <ac:picMk id="3" creationId="{A3918318-FFB2-4434-8452-2E93A167C7F1}"/>
          </ac:picMkLst>
        </pc:picChg>
      </pc:sldChg>
      <pc:sldChg chg="addSp delSp modSp new mod modClrScheme chgLayout">
        <pc:chgData name="Eldert Grootenboer" userId="3fe8758b2c2b58d2" providerId="LiveId" clId="{D34A150A-92A7-4B11-900B-B34F0655160D}" dt="2020-09-28T09:38:54.808" v="792" actId="700"/>
        <pc:sldMkLst>
          <pc:docMk/>
          <pc:sldMk cId="315041236" sldId="2076138708"/>
        </pc:sldMkLst>
        <pc:spChg chg="add del mod">
          <ac:chgData name="Eldert Grootenboer" userId="3fe8758b2c2b58d2" providerId="LiveId" clId="{D34A150A-92A7-4B11-900B-B34F0655160D}" dt="2020-09-28T09:38:54.808" v="792" actId="700"/>
          <ac:spMkLst>
            <pc:docMk/>
            <pc:sldMk cId="315041236" sldId="2076138708"/>
            <ac:spMk id="2" creationId="{2E2C5930-834F-4C6C-AC58-4981C4705D31}"/>
          </ac:spMkLst>
        </pc:spChg>
        <pc:spChg chg="add mod ord">
          <ac:chgData name="Eldert Grootenboer" userId="3fe8758b2c2b58d2" providerId="LiveId" clId="{D34A150A-92A7-4B11-900B-B34F0655160D}" dt="2020-09-28T09:38:54.808" v="792" actId="700"/>
          <ac:spMkLst>
            <pc:docMk/>
            <pc:sldMk cId="315041236" sldId="2076138708"/>
            <ac:spMk id="3" creationId="{CE18DAF2-0FB6-4F71-B56F-D0BD9501E704}"/>
          </ac:spMkLst>
        </pc:spChg>
        <pc:spChg chg="add mod ord">
          <ac:chgData name="Eldert Grootenboer" userId="3fe8758b2c2b58d2" providerId="LiveId" clId="{D34A150A-92A7-4B11-900B-B34F0655160D}" dt="2020-09-28T09:38:54.808" v="792" actId="700"/>
          <ac:spMkLst>
            <pc:docMk/>
            <pc:sldMk cId="315041236" sldId="2076138708"/>
            <ac:spMk id="4" creationId="{180B71A4-F9A9-4FCE-915F-9706A3986EDD}"/>
          </ac:spMkLst>
        </pc:spChg>
      </pc:sldChg>
      <pc:sldChg chg="addSp delSp modSp new mod chgLayout">
        <pc:chgData name="Eldert Grootenboer" userId="3fe8758b2c2b58d2" providerId="LiveId" clId="{D34A150A-92A7-4B11-900B-B34F0655160D}" dt="2020-09-28T09:38:54.808" v="792" actId="700"/>
        <pc:sldMkLst>
          <pc:docMk/>
          <pc:sldMk cId="329985986" sldId="2076138709"/>
        </pc:sldMkLst>
        <pc:spChg chg="del">
          <ac:chgData name="Eldert Grootenboer" userId="3fe8758b2c2b58d2" providerId="LiveId" clId="{D34A150A-92A7-4B11-900B-B34F0655160D}" dt="2020-09-28T09:38:54.808" v="792" actId="700"/>
          <ac:spMkLst>
            <pc:docMk/>
            <pc:sldMk cId="329985986" sldId="2076138709"/>
            <ac:spMk id="2" creationId="{F4483641-C70D-49C3-97AC-0125583ABA8D}"/>
          </ac:spMkLst>
        </pc:spChg>
        <pc:spChg chg="del">
          <ac:chgData name="Eldert Grootenboer" userId="3fe8758b2c2b58d2" providerId="LiveId" clId="{D34A150A-92A7-4B11-900B-B34F0655160D}" dt="2020-09-28T09:38:54.808" v="792" actId="700"/>
          <ac:spMkLst>
            <pc:docMk/>
            <pc:sldMk cId="329985986" sldId="2076138709"/>
            <ac:spMk id="3" creationId="{52EE8D06-6A31-4D6A-B59A-4E1374193FE9}"/>
          </ac:spMkLst>
        </pc:spChg>
        <pc:spChg chg="add mod ord">
          <ac:chgData name="Eldert Grootenboer" userId="3fe8758b2c2b58d2" providerId="LiveId" clId="{D34A150A-92A7-4B11-900B-B34F0655160D}" dt="2020-09-28T09:38:54.808" v="792" actId="700"/>
          <ac:spMkLst>
            <pc:docMk/>
            <pc:sldMk cId="329985986" sldId="2076138709"/>
            <ac:spMk id="4" creationId="{67BCB7A2-CA06-4181-ADFA-CF05270A7045}"/>
          </ac:spMkLst>
        </pc:spChg>
        <pc:spChg chg="add mod ord">
          <ac:chgData name="Eldert Grootenboer" userId="3fe8758b2c2b58d2" providerId="LiveId" clId="{D34A150A-92A7-4B11-900B-B34F0655160D}" dt="2020-09-28T09:38:54.808" v="792" actId="700"/>
          <ac:spMkLst>
            <pc:docMk/>
            <pc:sldMk cId="329985986" sldId="2076138709"/>
            <ac:spMk id="6" creationId="{444DAFBE-2560-48A9-8EC4-15ACFC8B235E}"/>
          </ac:spMkLst>
        </pc:spChg>
        <pc:picChg chg="add">
          <ac:chgData name="Eldert Grootenboer" userId="3fe8758b2c2b58d2" providerId="LiveId" clId="{D34A150A-92A7-4B11-900B-B34F0655160D}" dt="2020-09-27T13:42:55.545" v="399" actId="22"/>
          <ac:picMkLst>
            <pc:docMk/>
            <pc:sldMk cId="329985986" sldId="2076138709"/>
            <ac:picMk id="5" creationId="{7BC544BC-5674-4E33-A865-241CAB7BDD2E}"/>
          </ac:picMkLst>
        </pc:picChg>
      </pc:sldChg>
      <pc:sldChg chg="modSp new mod chgLayout">
        <pc:chgData name="Eldert Grootenboer" userId="3fe8758b2c2b58d2" providerId="LiveId" clId="{D34A150A-92A7-4B11-900B-B34F0655160D}" dt="2020-09-28T09:38:54.808" v="792" actId="700"/>
        <pc:sldMkLst>
          <pc:docMk/>
          <pc:sldMk cId="998589549" sldId="2076138710"/>
        </pc:sldMkLst>
        <pc:spChg chg="mod ord">
          <ac:chgData name="Eldert Grootenboer" userId="3fe8758b2c2b58d2" providerId="LiveId" clId="{D34A150A-92A7-4B11-900B-B34F0655160D}" dt="2020-09-28T09:38:54.808" v="792" actId="700"/>
          <ac:spMkLst>
            <pc:docMk/>
            <pc:sldMk cId="998589549" sldId="2076138710"/>
            <ac:spMk id="2" creationId="{3914631C-1AE3-482B-B7B0-83E1CC3FA428}"/>
          </ac:spMkLst>
        </pc:spChg>
        <pc:spChg chg="mod ord">
          <ac:chgData name="Eldert Grootenboer" userId="3fe8758b2c2b58d2" providerId="LiveId" clId="{D34A150A-92A7-4B11-900B-B34F0655160D}" dt="2020-09-28T09:38:54.808" v="792" actId="700"/>
          <ac:spMkLst>
            <pc:docMk/>
            <pc:sldMk cId="998589549" sldId="2076138710"/>
            <ac:spMk id="3" creationId="{42D917C4-E14B-43DC-A4E0-8FFDC2A887CE}"/>
          </ac:spMkLst>
        </pc:spChg>
      </pc:sldChg>
      <pc:sldChg chg="modSp new mod modNotesTx">
        <pc:chgData name="Eldert Grootenboer" userId="3fe8758b2c2b58d2" providerId="LiveId" clId="{D34A150A-92A7-4B11-900B-B34F0655160D}" dt="2020-09-30T07:08:26.066" v="2466" actId="20577"/>
        <pc:sldMkLst>
          <pc:docMk/>
          <pc:sldMk cId="2998798795" sldId="2076138711"/>
        </pc:sldMkLst>
        <pc:spChg chg="mod">
          <ac:chgData name="Eldert Grootenboer" userId="3fe8758b2c2b58d2" providerId="LiveId" clId="{D34A150A-92A7-4B11-900B-B34F0655160D}" dt="2020-09-30T07:08:26.066" v="2466" actId="20577"/>
          <ac:spMkLst>
            <pc:docMk/>
            <pc:sldMk cId="2998798795" sldId="2076138711"/>
            <ac:spMk id="2" creationId="{1C935766-7EF0-49E8-9432-3C997E1407AE}"/>
          </ac:spMkLst>
        </pc:spChg>
        <pc:spChg chg="mod">
          <ac:chgData name="Eldert Grootenboer" userId="3fe8758b2c2b58d2" providerId="LiveId" clId="{D34A150A-92A7-4B11-900B-B34F0655160D}" dt="2020-09-29T15:55:34.442" v="1115" actId="21"/>
          <ac:spMkLst>
            <pc:docMk/>
            <pc:sldMk cId="2998798795" sldId="2076138711"/>
            <ac:spMk id="3" creationId="{BEF23818-A870-41F3-A887-04BF2BEECA62}"/>
          </ac:spMkLst>
        </pc:spChg>
      </pc:sldChg>
      <pc:sldChg chg="modSp new mod modNotesTx">
        <pc:chgData name="Eldert Grootenboer" userId="3fe8758b2c2b58d2" providerId="LiveId" clId="{D34A150A-92A7-4B11-900B-B34F0655160D}" dt="2020-09-30T07:09:41.196" v="2584" actId="20577"/>
        <pc:sldMkLst>
          <pc:docMk/>
          <pc:sldMk cId="2254007504" sldId="2076138712"/>
        </pc:sldMkLst>
        <pc:spChg chg="mod">
          <ac:chgData name="Eldert Grootenboer" userId="3fe8758b2c2b58d2" providerId="LiveId" clId="{D34A150A-92A7-4B11-900B-B34F0655160D}" dt="2020-09-30T07:09:41.196" v="2584" actId="20577"/>
          <ac:spMkLst>
            <pc:docMk/>
            <pc:sldMk cId="2254007504" sldId="2076138712"/>
            <ac:spMk id="2" creationId="{E17FF954-053B-4E37-B2C5-6CE5AD657E90}"/>
          </ac:spMkLst>
        </pc:spChg>
      </pc:sldChg>
      <pc:sldChg chg="modSp new mod modNotesTx">
        <pc:chgData name="Eldert Grootenboer" userId="3fe8758b2c2b58d2" providerId="LiveId" clId="{D34A150A-92A7-4B11-900B-B34F0655160D}" dt="2020-10-01T15:07:51.292" v="2808" actId="6549"/>
        <pc:sldMkLst>
          <pc:docMk/>
          <pc:sldMk cId="1517044078" sldId="2076138713"/>
        </pc:sldMkLst>
        <pc:spChg chg="mod">
          <ac:chgData name="Eldert Grootenboer" userId="3fe8758b2c2b58d2" providerId="LiveId" clId="{D34A150A-92A7-4B11-900B-B34F0655160D}" dt="2020-09-30T07:10:08.342" v="2624" actId="20577"/>
          <ac:spMkLst>
            <pc:docMk/>
            <pc:sldMk cId="1517044078" sldId="2076138713"/>
            <ac:spMk id="2" creationId="{6315F505-A72B-47ED-90B5-3A51A6BF7C68}"/>
          </ac:spMkLst>
        </pc:spChg>
      </pc:sldChg>
      <pc:sldChg chg="modSp add mod modShow modNotesTx">
        <pc:chgData name="Eldert Grootenboer" userId="3fe8758b2c2b58d2" providerId="LiveId" clId="{D34A150A-92A7-4B11-900B-B34F0655160D}" dt="2020-09-30T07:10:48.716" v="2660" actId="20577"/>
        <pc:sldMkLst>
          <pc:docMk/>
          <pc:sldMk cId="1520846856" sldId="2076138714"/>
        </pc:sldMkLst>
        <pc:spChg chg="mod">
          <ac:chgData name="Eldert Grootenboer" userId="3fe8758b2c2b58d2" providerId="LiveId" clId="{D34A150A-92A7-4B11-900B-B34F0655160D}" dt="2020-09-30T07:10:48.716" v="2660" actId="20577"/>
          <ac:spMkLst>
            <pc:docMk/>
            <pc:sldMk cId="1520846856" sldId="2076138714"/>
            <ac:spMk id="2" creationId="{6315F505-A72B-47ED-90B5-3A51A6BF7C68}"/>
          </ac:spMkLst>
        </pc:spChg>
      </pc:sldChg>
      <pc:sldChg chg="modSp add mod modNotesTx">
        <pc:chgData name="Eldert Grootenboer" userId="3fe8758b2c2b58d2" providerId="LiveId" clId="{D34A150A-92A7-4B11-900B-B34F0655160D}" dt="2020-09-30T07:08:47.773" v="2510" actId="20577"/>
        <pc:sldMkLst>
          <pc:docMk/>
          <pc:sldMk cId="2754048273" sldId="2076138715"/>
        </pc:sldMkLst>
        <pc:spChg chg="mod">
          <ac:chgData name="Eldert Grootenboer" userId="3fe8758b2c2b58d2" providerId="LiveId" clId="{D34A150A-92A7-4B11-900B-B34F0655160D}" dt="2020-09-30T07:08:47.773" v="2510" actId="20577"/>
          <ac:spMkLst>
            <pc:docMk/>
            <pc:sldMk cId="2754048273" sldId="2076138715"/>
            <ac:spMk id="2" creationId="{1C935766-7EF0-49E8-9432-3C997E1407AE}"/>
          </ac:spMkLst>
        </pc:spChg>
      </pc:sldChg>
      <pc:sldMasterChg chg="delSldLayout">
        <pc:chgData name="Eldert Grootenboer" userId="3fe8758b2c2b58d2" providerId="LiveId" clId="{D34A150A-92A7-4B11-900B-B34F0655160D}" dt="2020-09-28T09:39:52.304" v="805" actId="2696"/>
        <pc:sldMasterMkLst>
          <pc:docMk/>
          <pc:sldMasterMk cId="2878107655" sldId="2147483660"/>
        </pc:sldMasterMkLst>
        <pc:sldLayoutChg chg="del">
          <pc:chgData name="Eldert Grootenboer" userId="3fe8758b2c2b58d2" providerId="LiveId" clId="{D34A150A-92A7-4B11-900B-B34F0655160D}" dt="2020-09-28T09:39:44.729" v="803" actId="2696"/>
          <pc:sldLayoutMkLst>
            <pc:docMk/>
            <pc:sldMasterMk cId="2878107655" sldId="2147483660"/>
            <pc:sldLayoutMk cId="4072513825" sldId="2147483673"/>
          </pc:sldLayoutMkLst>
        </pc:sldLayoutChg>
        <pc:sldLayoutChg chg="del">
          <pc:chgData name="Eldert Grootenboer" userId="3fe8758b2c2b58d2" providerId="LiveId" clId="{D34A150A-92A7-4B11-900B-B34F0655160D}" dt="2020-09-28T09:39:46.535" v="804" actId="2696"/>
          <pc:sldLayoutMkLst>
            <pc:docMk/>
            <pc:sldMasterMk cId="2878107655" sldId="2147483660"/>
            <pc:sldLayoutMk cId="3472780930" sldId="2147483674"/>
          </pc:sldLayoutMkLst>
        </pc:sldLayoutChg>
        <pc:sldLayoutChg chg="del">
          <pc:chgData name="Eldert Grootenboer" userId="3fe8758b2c2b58d2" providerId="LiveId" clId="{D34A150A-92A7-4B11-900B-B34F0655160D}" dt="2020-09-28T09:39:52.304" v="805" actId="2696"/>
          <pc:sldLayoutMkLst>
            <pc:docMk/>
            <pc:sldMasterMk cId="2878107655" sldId="2147483660"/>
            <pc:sldLayoutMk cId="4111871962" sldId="2147483676"/>
          </pc:sldLayoutMkLst>
        </pc:sldLayoutChg>
        <pc:sldLayoutChg chg="del">
          <pc:chgData name="Eldert Grootenboer" userId="3fe8758b2c2b58d2" providerId="LiveId" clId="{D34A150A-92A7-4B11-900B-B34F0655160D}" dt="2020-09-28T09:39:36.371" v="802" actId="2696"/>
          <pc:sldLayoutMkLst>
            <pc:docMk/>
            <pc:sldMasterMk cId="2878107655" sldId="2147483660"/>
            <pc:sldLayoutMk cId="3138211053" sldId="2147483678"/>
          </pc:sldLayoutMkLst>
        </pc:sldLayoutChg>
        <pc:sldLayoutChg chg="del">
          <pc:chgData name="Eldert Grootenboer" userId="3fe8758b2c2b58d2" providerId="LiveId" clId="{D34A150A-92A7-4B11-900B-B34F0655160D}" dt="2020-09-28T09:39:32.949" v="801" actId="2696"/>
          <pc:sldLayoutMkLst>
            <pc:docMk/>
            <pc:sldMasterMk cId="2878107655" sldId="2147483660"/>
            <pc:sldLayoutMk cId="4207493435" sldId="2147483679"/>
          </pc:sldLayoutMkLst>
        </pc:sldLayoutChg>
        <pc:sldLayoutChg chg="del">
          <pc:chgData name="Eldert Grootenboer" userId="3fe8758b2c2b58d2" providerId="LiveId" clId="{D34A150A-92A7-4B11-900B-B34F0655160D}" dt="2020-09-28T09:39:29.501" v="800" actId="2696"/>
          <pc:sldLayoutMkLst>
            <pc:docMk/>
            <pc:sldMasterMk cId="2878107655" sldId="2147483660"/>
            <pc:sldLayoutMk cId="2856322652" sldId="2147483680"/>
          </pc:sldLayoutMkLst>
        </pc:sldLayoutChg>
        <pc:sldLayoutChg chg="del">
          <pc:chgData name="Eldert Grootenboer" userId="3fe8758b2c2b58d2" providerId="LiveId" clId="{D34A150A-92A7-4B11-900B-B34F0655160D}" dt="2020-09-28T09:39:04.478" v="798" actId="2696"/>
          <pc:sldLayoutMkLst>
            <pc:docMk/>
            <pc:sldMasterMk cId="2878107655" sldId="2147483660"/>
            <pc:sldLayoutMk cId="1575602750" sldId="2147483681"/>
          </pc:sldLayoutMkLst>
        </pc:sldLayoutChg>
        <pc:sldLayoutChg chg="del">
          <pc:chgData name="Eldert Grootenboer" userId="3fe8758b2c2b58d2" providerId="LiveId" clId="{D34A150A-92A7-4B11-900B-B34F0655160D}" dt="2020-09-28T09:39:17.516" v="799" actId="2696"/>
          <pc:sldLayoutMkLst>
            <pc:docMk/>
            <pc:sldMasterMk cId="2878107655" sldId="2147483660"/>
            <pc:sldLayoutMk cId="2438033432" sldId="2147483682"/>
          </pc:sldLayoutMkLst>
        </pc:sldLayoutChg>
      </pc:sldMasterChg>
    </pc:docChg>
  </pc:docChgLst>
  <pc:docChgLst>
    <pc:chgData name="Eldert Grootenboer" userId="3fe8758b2c2b58d2" providerId="LiveId" clId="{76444A61-C3D3-48E5-B979-D806E92B623B}"/>
    <pc:docChg chg="undo redo custSel addSld delSld modSld sldOrd modSection">
      <pc:chgData name="Eldert Grootenboer" userId="3fe8758b2c2b58d2" providerId="LiveId" clId="{76444A61-C3D3-48E5-B979-D806E92B623B}" dt="2020-09-06T14:24:25.060" v="318" actId="47"/>
      <pc:docMkLst>
        <pc:docMk/>
      </pc:docMkLst>
      <pc:sldChg chg="modAnim">
        <pc:chgData name="Eldert Grootenboer" userId="3fe8758b2c2b58d2" providerId="LiveId" clId="{76444A61-C3D3-48E5-B979-D806E92B623B}" dt="2020-09-06T14:07:36.102" v="185"/>
        <pc:sldMkLst>
          <pc:docMk/>
          <pc:sldMk cId="3433781766" sldId="259"/>
        </pc:sldMkLst>
      </pc:sldChg>
      <pc:sldChg chg="modSp modAnim">
        <pc:chgData name="Eldert Grootenboer" userId="3fe8758b2c2b58d2" providerId="LiveId" clId="{76444A61-C3D3-48E5-B979-D806E92B623B}" dt="2020-09-06T13:46:42.912" v="8" actId="20577"/>
        <pc:sldMkLst>
          <pc:docMk/>
          <pc:sldMk cId="891752123" sldId="1997"/>
        </pc:sldMkLst>
        <pc:spChg chg="mod">
          <ac:chgData name="Eldert Grootenboer" userId="3fe8758b2c2b58d2" providerId="LiveId" clId="{76444A61-C3D3-48E5-B979-D806E92B623B}" dt="2020-09-06T13:46:42.912" v="8" actId="20577"/>
          <ac:spMkLst>
            <pc:docMk/>
            <pc:sldMk cId="891752123" sldId="1997"/>
            <ac:spMk id="16" creationId="{FA376D98-3522-4C69-910D-880684F4FAA0}"/>
          </ac:spMkLst>
        </pc:spChg>
      </pc:sldChg>
      <pc:sldChg chg="modSp mod modAnim">
        <pc:chgData name="Eldert Grootenboer" userId="3fe8758b2c2b58d2" providerId="LiveId" clId="{76444A61-C3D3-48E5-B979-D806E92B623B}" dt="2020-09-06T13:57:32.934" v="88"/>
        <pc:sldMkLst>
          <pc:docMk/>
          <pc:sldMk cId="4102214970" sldId="2447"/>
        </pc:sldMkLst>
        <pc:spChg chg="mod">
          <ac:chgData name="Eldert Grootenboer" userId="3fe8758b2c2b58d2" providerId="LiveId" clId="{76444A61-C3D3-48E5-B979-D806E92B623B}" dt="2020-09-06T13:53:12.334" v="63" actId="1076"/>
          <ac:spMkLst>
            <pc:docMk/>
            <pc:sldMk cId="4102214970" sldId="2447"/>
            <ac:spMk id="2" creationId="{00000000-0000-0000-0000-000000000000}"/>
          </ac:spMkLst>
        </pc:spChg>
        <pc:graphicFrameChg chg="mod">
          <ac:chgData name="Eldert Grootenboer" userId="3fe8758b2c2b58d2" providerId="LiveId" clId="{76444A61-C3D3-48E5-B979-D806E92B623B}" dt="2020-09-06T13:54:41.050" v="75"/>
          <ac:graphicFrameMkLst>
            <pc:docMk/>
            <pc:sldMk cId="4102214970" sldId="2447"/>
            <ac:graphicFrameMk id="9" creationId="{656B2E98-E922-470E-85A5-4A5392B97242}"/>
          </ac:graphicFrameMkLst>
        </pc:graphicFrameChg>
      </pc:sldChg>
      <pc:sldChg chg="addSp delSp modSp mod delAnim modAnim">
        <pc:chgData name="Eldert Grootenboer" userId="3fe8758b2c2b58d2" providerId="LiveId" clId="{76444A61-C3D3-48E5-B979-D806E92B623B}" dt="2020-09-06T14:24:00.553" v="317" actId="20577"/>
        <pc:sldMkLst>
          <pc:docMk/>
          <pc:sldMk cId="1371537393" sldId="2466"/>
        </pc:sldMkLst>
        <pc:spChg chg="mod">
          <ac:chgData name="Eldert Grootenboer" userId="3fe8758b2c2b58d2" providerId="LiveId" clId="{76444A61-C3D3-48E5-B979-D806E92B623B}" dt="2020-09-06T14:17:42.658" v="266" actId="338"/>
          <ac:spMkLst>
            <pc:docMk/>
            <pc:sldMk cId="1371537393" sldId="2466"/>
            <ac:spMk id="2" creationId="{B8ABCF87-7839-994F-A1A7-69F5E4F78BCA}"/>
          </ac:spMkLst>
        </pc:spChg>
        <pc:spChg chg="mod topLvl">
          <ac:chgData name="Eldert Grootenboer" userId="3fe8758b2c2b58d2" providerId="LiveId" clId="{76444A61-C3D3-48E5-B979-D806E92B623B}" dt="2020-09-06T14:17:57.610" v="268" actId="165"/>
          <ac:spMkLst>
            <pc:docMk/>
            <pc:sldMk cId="1371537393" sldId="2466"/>
            <ac:spMk id="9" creationId="{F0617C2B-15A0-451E-8FB3-AE82F00539BC}"/>
          </ac:spMkLst>
        </pc:spChg>
        <pc:spChg chg="mod topLvl">
          <ac:chgData name="Eldert Grootenboer" userId="3fe8758b2c2b58d2" providerId="LiveId" clId="{76444A61-C3D3-48E5-B979-D806E92B623B}" dt="2020-09-06T14:17:57.610" v="268" actId="165"/>
          <ac:spMkLst>
            <pc:docMk/>
            <pc:sldMk cId="1371537393" sldId="2466"/>
            <ac:spMk id="10" creationId="{7359FB9A-11AE-4002-BD91-E4CEA3F8D478}"/>
          </ac:spMkLst>
        </pc:spChg>
        <pc:spChg chg="mod topLvl">
          <ac:chgData name="Eldert Grootenboer" userId="3fe8758b2c2b58d2" providerId="LiveId" clId="{76444A61-C3D3-48E5-B979-D806E92B623B}" dt="2020-09-06T14:17:57.610" v="268" actId="165"/>
          <ac:spMkLst>
            <pc:docMk/>
            <pc:sldMk cId="1371537393" sldId="2466"/>
            <ac:spMk id="11" creationId="{0985DAD6-F9EA-4F9B-B5D4-01649D498AD0}"/>
          </ac:spMkLst>
        </pc:spChg>
        <pc:spChg chg="mod topLvl">
          <ac:chgData name="Eldert Grootenboer" userId="3fe8758b2c2b58d2" providerId="LiveId" clId="{76444A61-C3D3-48E5-B979-D806E92B623B}" dt="2020-09-06T14:17:57.610" v="268" actId="165"/>
          <ac:spMkLst>
            <pc:docMk/>
            <pc:sldMk cId="1371537393" sldId="2466"/>
            <ac:spMk id="12" creationId="{EDCBC147-8F4D-4FB2-A51A-6BD26AAB176D}"/>
          </ac:spMkLst>
        </pc:spChg>
        <pc:spChg chg="mod topLvl">
          <ac:chgData name="Eldert Grootenboer" userId="3fe8758b2c2b58d2" providerId="LiveId" clId="{76444A61-C3D3-48E5-B979-D806E92B623B}" dt="2020-09-06T14:17:57.610" v="268" actId="165"/>
          <ac:spMkLst>
            <pc:docMk/>
            <pc:sldMk cId="1371537393" sldId="2466"/>
            <ac:spMk id="13" creationId="{E71EE4F4-9003-4C9E-ABDD-32BDB296FC8C}"/>
          </ac:spMkLst>
        </pc:spChg>
        <pc:spChg chg="mod topLvl">
          <ac:chgData name="Eldert Grootenboer" userId="3fe8758b2c2b58d2" providerId="LiveId" clId="{76444A61-C3D3-48E5-B979-D806E92B623B}" dt="2020-09-06T14:17:57.610" v="268" actId="165"/>
          <ac:spMkLst>
            <pc:docMk/>
            <pc:sldMk cId="1371537393" sldId="2466"/>
            <ac:spMk id="14" creationId="{E003D546-3479-4B23-8D03-28664B9B8C94}"/>
          </ac:spMkLst>
        </pc:spChg>
        <pc:spChg chg="mod topLvl">
          <ac:chgData name="Eldert Grootenboer" userId="3fe8758b2c2b58d2" providerId="LiveId" clId="{76444A61-C3D3-48E5-B979-D806E92B623B}" dt="2020-09-06T14:17:57.610" v="268" actId="165"/>
          <ac:spMkLst>
            <pc:docMk/>
            <pc:sldMk cId="1371537393" sldId="2466"/>
            <ac:spMk id="15" creationId="{59C28410-E7C7-4330-B459-4A24C132AC47}"/>
          </ac:spMkLst>
        </pc:spChg>
        <pc:spChg chg="mod topLvl">
          <ac:chgData name="Eldert Grootenboer" userId="3fe8758b2c2b58d2" providerId="LiveId" clId="{76444A61-C3D3-48E5-B979-D806E92B623B}" dt="2020-09-06T14:17:57.610" v="268" actId="165"/>
          <ac:spMkLst>
            <pc:docMk/>
            <pc:sldMk cId="1371537393" sldId="2466"/>
            <ac:spMk id="16" creationId="{2C52F089-400E-4764-B790-53FDB4C9760E}"/>
          </ac:spMkLst>
        </pc:spChg>
        <pc:spChg chg="mod topLvl">
          <ac:chgData name="Eldert Grootenboer" userId="3fe8758b2c2b58d2" providerId="LiveId" clId="{76444A61-C3D3-48E5-B979-D806E92B623B}" dt="2020-09-06T14:17:57.610" v="268" actId="165"/>
          <ac:spMkLst>
            <pc:docMk/>
            <pc:sldMk cId="1371537393" sldId="2466"/>
            <ac:spMk id="17" creationId="{884E940A-A6C9-47C9-82B9-385AE260530B}"/>
          </ac:spMkLst>
        </pc:spChg>
        <pc:spChg chg="mod topLvl">
          <ac:chgData name="Eldert Grootenboer" userId="3fe8758b2c2b58d2" providerId="LiveId" clId="{76444A61-C3D3-48E5-B979-D806E92B623B}" dt="2020-09-06T14:17:57.610" v="268" actId="165"/>
          <ac:spMkLst>
            <pc:docMk/>
            <pc:sldMk cId="1371537393" sldId="2466"/>
            <ac:spMk id="18" creationId="{2616BCA8-9B9D-4FB6-BFCA-F804E9608381}"/>
          </ac:spMkLst>
        </pc:spChg>
        <pc:spChg chg="mod topLvl">
          <ac:chgData name="Eldert Grootenboer" userId="3fe8758b2c2b58d2" providerId="LiveId" clId="{76444A61-C3D3-48E5-B979-D806E92B623B}" dt="2020-09-06T14:17:57.610" v="268" actId="165"/>
          <ac:spMkLst>
            <pc:docMk/>
            <pc:sldMk cId="1371537393" sldId="2466"/>
            <ac:spMk id="19" creationId="{4D2F06A8-E7FB-414F-9EA4-56BA31896FA3}"/>
          </ac:spMkLst>
        </pc:spChg>
        <pc:spChg chg="mod topLvl">
          <ac:chgData name="Eldert Grootenboer" userId="3fe8758b2c2b58d2" providerId="LiveId" clId="{76444A61-C3D3-48E5-B979-D806E92B623B}" dt="2020-09-06T14:17:57.610" v="268" actId="165"/>
          <ac:spMkLst>
            <pc:docMk/>
            <pc:sldMk cId="1371537393" sldId="2466"/>
            <ac:spMk id="20" creationId="{4727BE56-14A8-4345-B690-21F011AD15E7}"/>
          </ac:spMkLst>
        </pc:spChg>
        <pc:spChg chg="mod topLvl">
          <ac:chgData name="Eldert Grootenboer" userId="3fe8758b2c2b58d2" providerId="LiveId" clId="{76444A61-C3D3-48E5-B979-D806E92B623B}" dt="2020-09-06T14:17:57.610" v="268" actId="165"/>
          <ac:spMkLst>
            <pc:docMk/>
            <pc:sldMk cId="1371537393" sldId="2466"/>
            <ac:spMk id="21" creationId="{B33C8141-F41C-4C3A-BB2F-300F3BF68D54}"/>
          </ac:spMkLst>
        </pc:spChg>
        <pc:spChg chg="mod topLvl">
          <ac:chgData name="Eldert Grootenboer" userId="3fe8758b2c2b58d2" providerId="LiveId" clId="{76444A61-C3D3-48E5-B979-D806E92B623B}" dt="2020-09-06T14:17:57.610" v="268" actId="165"/>
          <ac:spMkLst>
            <pc:docMk/>
            <pc:sldMk cId="1371537393" sldId="2466"/>
            <ac:spMk id="22" creationId="{8D3DE9A1-C099-499F-9012-7D1761793B0F}"/>
          </ac:spMkLst>
        </pc:spChg>
        <pc:spChg chg="mod topLvl">
          <ac:chgData name="Eldert Grootenboer" userId="3fe8758b2c2b58d2" providerId="LiveId" clId="{76444A61-C3D3-48E5-B979-D806E92B623B}" dt="2020-09-06T14:17:57.610" v="268" actId="165"/>
          <ac:spMkLst>
            <pc:docMk/>
            <pc:sldMk cId="1371537393" sldId="2466"/>
            <ac:spMk id="23" creationId="{6315F026-C22D-489C-B12E-3F0BB6EAE4B5}"/>
          </ac:spMkLst>
        </pc:spChg>
        <pc:spChg chg="mod topLvl">
          <ac:chgData name="Eldert Grootenboer" userId="3fe8758b2c2b58d2" providerId="LiveId" clId="{76444A61-C3D3-48E5-B979-D806E92B623B}" dt="2020-09-06T14:17:57.610" v="268" actId="165"/>
          <ac:spMkLst>
            <pc:docMk/>
            <pc:sldMk cId="1371537393" sldId="2466"/>
            <ac:spMk id="24" creationId="{600FBE1A-F53C-4EED-8B66-6D27DE50A7D9}"/>
          </ac:spMkLst>
        </pc:spChg>
        <pc:spChg chg="mod topLvl">
          <ac:chgData name="Eldert Grootenboer" userId="3fe8758b2c2b58d2" providerId="LiveId" clId="{76444A61-C3D3-48E5-B979-D806E92B623B}" dt="2020-09-06T14:17:57.610" v="268" actId="165"/>
          <ac:spMkLst>
            <pc:docMk/>
            <pc:sldMk cId="1371537393" sldId="2466"/>
            <ac:spMk id="25" creationId="{69395889-8E3C-4AA2-A9BE-ADE160479707}"/>
          </ac:spMkLst>
        </pc:spChg>
        <pc:spChg chg="mod topLvl">
          <ac:chgData name="Eldert Grootenboer" userId="3fe8758b2c2b58d2" providerId="LiveId" clId="{76444A61-C3D3-48E5-B979-D806E92B623B}" dt="2020-09-06T14:17:57.610" v="268" actId="165"/>
          <ac:spMkLst>
            <pc:docMk/>
            <pc:sldMk cId="1371537393" sldId="2466"/>
            <ac:spMk id="26" creationId="{7C5570F1-8AC6-4F3C-9FD5-4B4F21DA49AC}"/>
          </ac:spMkLst>
        </pc:spChg>
        <pc:spChg chg="mod topLvl">
          <ac:chgData name="Eldert Grootenboer" userId="3fe8758b2c2b58d2" providerId="LiveId" clId="{76444A61-C3D3-48E5-B979-D806E92B623B}" dt="2020-09-06T14:17:57.610" v="268" actId="165"/>
          <ac:spMkLst>
            <pc:docMk/>
            <pc:sldMk cId="1371537393" sldId="2466"/>
            <ac:spMk id="27" creationId="{E675266A-81A6-466F-A79C-DC997009D046}"/>
          </ac:spMkLst>
        </pc:spChg>
        <pc:spChg chg="mod topLvl">
          <ac:chgData name="Eldert Grootenboer" userId="3fe8758b2c2b58d2" providerId="LiveId" clId="{76444A61-C3D3-48E5-B979-D806E92B623B}" dt="2020-09-06T14:17:57.610" v="268" actId="165"/>
          <ac:spMkLst>
            <pc:docMk/>
            <pc:sldMk cId="1371537393" sldId="2466"/>
            <ac:spMk id="28" creationId="{D994AED3-F77C-4057-839F-926D102AA7A4}"/>
          </ac:spMkLst>
        </pc:spChg>
        <pc:spChg chg="mod topLvl">
          <ac:chgData name="Eldert Grootenboer" userId="3fe8758b2c2b58d2" providerId="LiveId" clId="{76444A61-C3D3-48E5-B979-D806E92B623B}" dt="2020-09-06T14:17:57.610" v="268" actId="165"/>
          <ac:spMkLst>
            <pc:docMk/>
            <pc:sldMk cId="1371537393" sldId="2466"/>
            <ac:spMk id="29" creationId="{38EFE1B5-0117-4472-9D20-E06C95A93A8C}"/>
          </ac:spMkLst>
        </pc:spChg>
        <pc:spChg chg="mod topLvl">
          <ac:chgData name="Eldert Grootenboer" userId="3fe8758b2c2b58d2" providerId="LiveId" clId="{76444A61-C3D3-48E5-B979-D806E92B623B}" dt="2020-09-06T14:17:57.610" v="268" actId="165"/>
          <ac:spMkLst>
            <pc:docMk/>
            <pc:sldMk cId="1371537393" sldId="2466"/>
            <ac:spMk id="30" creationId="{BE700BEF-6AEA-4D0D-A0B0-71B19F1C9F7F}"/>
          </ac:spMkLst>
        </pc:spChg>
        <pc:spChg chg="mod topLvl">
          <ac:chgData name="Eldert Grootenboer" userId="3fe8758b2c2b58d2" providerId="LiveId" clId="{76444A61-C3D3-48E5-B979-D806E92B623B}" dt="2020-09-06T14:17:57.610" v="268" actId="165"/>
          <ac:spMkLst>
            <pc:docMk/>
            <pc:sldMk cId="1371537393" sldId="2466"/>
            <ac:spMk id="31" creationId="{4EEDD88C-BED1-4AB0-A4D0-4981E31B4E8D}"/>
          </ac:spMkLst>
        </pc:spChg>
        <pc:spChg chg="mod topLvl">
          <ac:chgData name="Eldert Grootenboer" userId="3fe8758b2c2b58d2" providerId="LiveId" clId="{76444A61-C3D3-48E5-B979-D806E92B623B}" dt="2020-09-06T14:17:57.610" v="268" actId="165"/>
          <ac:spMkLst>
            <pc:docMk/>
            <pc:sldMk cId="1371537393" sldId="2466"/>
            <ac:spMk id="32" creationId="{72E7047C-BA02-4804-B1DA-A98E1D795302}"/>
          </ac:spMkLst>
        </pc:spChg>
        <pc:spChg chg="mod topLvl">
          <ac:chgData name="Eldert Grootenboer" userId="3fe8758b2c2b58d2" providerId="LiveId" clId="{76444A61-C3D3-48E5-B979-D806E92B623B}" dt="2020-09-06T14:17:57.610" v="268" actId="165"/>
          <ac:spMkLst>
            <pc:docMk/>
            <pc:sldMk cId="1371537393" sldId="2466"/>
            <ac:spMk id="33" creationId="{26FBCECE-BC48-41AC-A7F4-1023EEA1DA33}"/>
          </ac:spMkLst>
        </pc:spChg>
        <pc:spChg chg="mod topLvl">
          <ac:chgData name="Eldert Grootenboer" userId="3fe8758b2c2b58d2" providerId="LiveId" clId="{76444A61-C3D3-48E5-B979-D806E92B623B}" dt="2020-09-06T14:17:57.610" v="268" actId="165"/>
          <ac:spMkLst>
            <pc:docMk/>
            <pc:sldMk cId="1371537393" sldId="2466"/>
            <ac:spMk id="34" creationId="{D9AE6FAF-796A-4F52-B5EA-6724ACB7C743}"/>
          </ac:spMkLst>
        </pc:spChg>
        <pc:spChg chg="mod topLvl">
          <ac:chgData name="Eldert Grootenboer" userId="3fe8758b2c2b58d2" providerId="LiveId" clId="{76444A61-C3D3-48E5-B979-D806E92B623B}" dt="2020-09-06T14:17:57.610" v="268" actId="165"/>
          <ac:spMkLst>
            <pc:docMk/>
            <pc:sldMk cId="1371537393" sldId="2466"/>
            <ac:spMk id="35" creationId="{605017E1-AC0A-459B-92C7-B351C44D6803}"/>
          </ac:spMkLst>
        </pc:spChg>
        <pc:spChg chg="mod topLvl">
          <ac:chgData name="Eldert Grootenboer" userId="3fe8758b2c2b58d2" providerId="LiveId" clId="{76444A61-C3D3-48E5-B979-D806E92B623B}" dt="2020-09-06T14:17:57.610" v="268" actId="165"/>
          <ac:spMkLst>
            <pc:docMk/>
            <pc:sldMk cId="1371537393" sldId="2466"/>
            <ac:spMk id="36" creationId="{9F70D4CF-4566-4F6A-A5DB-FFFCDA56681A}"/>
          </ac:spMkLst>
        </pc:spChg>
        <pc:spChg chg="mod topLvl">
          <ac:chgData name="Eldert Grootenboer" userId="3fe8758b2c2b58d2" providerId="LiveId" clId="{76444A61-C3D3-48E5-B979-D806E92B623B}" dt="2020-09-06T14:17:57.610" v="268" actId="165"/>
          <ac:spMkLst>
            <pc:docMk/>
            <pc:sldMk cId="1371537393" sldId="2466"/>
            <ac:spMk id="37" creationId="{FCBE572B-F478-43C8-ABFF-2AFA197D8C6F}"/>
          </ac:spMkLst>
        </pc:spChg>
        <pc:spChg chg="mod topLvl">
          <ac:chgData name="Eldert Grootenboer" userId="3fe8758b2c2b58d2" providerId="LiveId" clId="{76444A61-C3D3-48E5-B979-D806E92B623B}" dt="2020-09-06T14:17:57.610" v="268" actId="165"/>
          <ac:spMkLst>
            <pc:docMk/>
            <pc:sldMk cId="1371537393" sldId="2466"/>
            <ac:spMk id="38" creationId="{9B5E15E3-30D6-4B9A-9F57-0FAEDEB38EB8}"/>
          </ac:spMkLst>
        </pc:spChg>
        <pc:spChg chg="mod topLvl">
          <ac:chgData name="Eldert Grootenboer" userId="3fe8758b2c2b58d2" providerId="LiveId" clId="{76444A61-C3D3-48E5-B979-D806E92B623B}" dt="2020-09-06T14:17:57.610" v="268" actId="165"/>
          <ac:spMkLst>
            <pc:docMk/>
            <pc:sldMk cId="1371537393" sldId="2466"/>
            <ac:spMk id="39" creationId="{3E34BBDF-6E84-4EF7-ABE2-C90D000237B7}"/>
          </ac:spMkLst>
        </pc:spChg>
        <pc:spChg chg="mod topLvl">
          <ac:chgData name="Eldert Grootenboer" userId="3fe8758b2c2b58d2" providerId="LiveId" clId="{76444A61-C3D3-48E5-B979-D806E92B623B}" dt="2020-09-06T14:17:57.610" v="268" actId="165"/>
          <ac:spMkLst>
            <pc:docMk/>
            <pc:sldMk cId="1371537393" sldId="2466"/>
            <ac:spMk id="40" creationId="{08162861-F731-484B-BC46-CB660CBC9A06}"/>
          </ac:spMkLst>
        </pc:spChg>
        <pc:spChg chg="mod topLvl">
          <ac:chgData name="Eldert Grootenboer" userId="3fe8758b2c2b58d2" providerId="LiveId" clId="{76444A61-C3D3-48E5-B979-D806E92B623B}" dt="2020-09-06T14:17:57.610" v="268" actId="165"/>
          <ac:spMkLst>
            <pc:docMk/>
            <pc:sldMk cId="1371537393" sldId="2466"/>
            <ac:spMk id="41" creationId="{86D02E9A-9822-4B53-BF82-05D70BBFAEA8}"/>
          </ac:spMkLst>
        </pc:spChg>
        <pc:spChg chg="mod topLvl">
          <ac:chgData name="Eldert Grootenboer" userId="3fe8758b2c2b58d2" providerId="LiveId" clId="{76444A61-C3D3-48E5-B979-D806E92B623B}" dt="2020-09-06T14:17:57.610" v="268" actId="165"/>
          <ac:spMkLst>
            <pc:docMk/>
            <pc:sldMk cId="1371537393" sldId="2466"/>
            <ac:spMk id="42" creationId="{B48D1BBF-EBF6-4193-987B-0D21039247AE}"/>
          </ac:spMkLst>
        </pc:spChg>
        <pc:spChg chg="mod topLvl">
          <ac:chgData name="Eldert Grootenboer" userId="3fe8758b2c2b58d2" providerId="LiveId" clId="{76444A61-C3D3-48E5-B979-D806E92B623B}" dt="2020-09-06T14:17:57.610" v="268" actId="165"/>
          <ac:spMkLst>
            <pc:docMk/>
            <pc:sldMk cId="1371537393" sldId="2466"/>
            <ac:spMk id="43" creationId="{31920F72-6224-47B5-BA4F-A745CF731932}"/>
          </ac:spMkLst>
        </pc:spChg>
        <pc:spChg chg="mod topLvl">
          <ac:chgData name="Eldert Grootenboer" userId="3fe8758b2c2b58d2" providerId="LiveId" clId="{76444A61-C3D3-48E5-B979-D806E92B623B}" dt="2020-09-06T14:17:57.610" v="268" actId="165"/>
          <ac:spMkLst>
            <pc:docMk/>
            <pc:sldMk cId="1371537393" sldId="2466"/>
            <ac:spMk id="44" creationId="{16CA801B-3ECF-4981-9981-37CB9D371571}"/>
          </ac:spMkLst>
        </pc:spChg>
        <pc:spChg chg="mod topLvl">
          <ac:chgData name="Eldert Grootenboer" userId="3fe8758b2c2b58d2" providerId="LiveId" clId="{76444A61-C3D3-48E5-B979-D806E92B623B}" dt="2020-09-06T14:17:57.610" v="268" actId="165"/>
          <ac:spMkLst>
            <pc:docMk/>
            <pc:sldMk cId="1371537393" sldId="2466"/>
            <ac:spMk id="45" creationId="{226FFF82-C040-43F1-9E00-F5F76B5A0BEF}"/>
          </ac:spMkLst>
        </pc:spChg>
        <pc:spChg chg="mod topLvl">
          <ac:chgData name="Eldert Grootenboer" userId="3fe8758b2c2b58d2" providerId="LiveId" clId="{76444A61-C3D3-48E5-B979-D806E92B623B}" dt="2020-09-06T14:17:57.610" v="268" actId="165"/>
          <ac:spMkLst>
            <pc:docMk/>
            <pc:sldMk cId="1371537393" sldId="2466"/>
            <ac:spMk id="46" creationId="{6C7505B8-30D3-4E9D-8CF9-A985C9A32822}"/>
          </ac:spMkLst>
        </pc:spChg>
        <pc:spChg chg="mod topLvl">
          <ac:chgData name="Eldert Grootenboer" userId="3fe8758b2c2b58d2" providerId="LiveId" clId="{76444A61-C3D3-48E5-B979-D806E92B623B}" dt="2020-09-06T14:17:57.610" v="268" actId="165"/>
          <ac:spMkLst>
            <pc:docMk/>
            <pc:sldMk cId="1371537393" sldId="2466"/>
            <ac:spMk id="47" creationId="{8B78E927-ABB3-4E43-B337-84BC881910FB}"/>
          </ac:spMkLst>
        </pc:spChg>
        <pc:spChg chg="mod topLvl">
          <ac:chgData name="Eldert Grootenboer" userId="3fe8758b2c2b58d2" providerId="LiveId" clId="{76444A61-C3D3-48E5-B979-D806E92B623B}" dt="2020-09-06T14:17:57.610" v="268" actId="165"/>
          <ac:spMkLst>
            <pc:docMk/>
            <pc:sldMk cId="1371537393" sldId="2466"/>
            <ac:spMk id="48" creationId="{986BD0E8-D3EC-413A-873B-7B28032DF48E}"/>
          </ac:spMkLst>
        </pc:spChg>
        <pc:spChg chg="mod topLvl">
          <ac:chgData name="Eldert Grootenboer" userId="3fe8758b2c2b58d2" providerId="LiveId" clId="{76444A61-C3D3-48E5-B979-D806E92B623B}" dt="2020-09-06T14:17:57.610" v="268" actId="165"/>
          <ac:spMkLst>
            <pc:docMk/>
            <pc:sldMk cId="1371537393" sldId="2466"/>
            <ac:spMk id="49" creationId="{C9519070-EBC5-42D9-AC25-825AC4FA8093}"/>
          </ac:spMkLst>
        </pc:spChg>
        <pc:spChg chg="mod topLvl">
          <ac:chgData name="Eldert Grootenboer" userId="3fe8758b2c2b58d2" providerId="LiveId" clId="{76444A61-C3D3-48E5-B979-D806E92B623B}" dt="2020-09-06T14:17:57.610" v="268" actId="165"/>
          <ac:spMkLst>
            <pc:docMk/>
            <pc:sldMk cId="1371537393" sldId="2466"/>
            <ac:spMk id="50" creationId="{13DBBB16-D3A8-4326-9B31-922B4A81DCD2}"/>
          </ac:spMkLst>
        </pc:spChg>
        <pc:spChg chg="mod topLvl">
          <ac:chgData name="Eldert Grootenboer" userId="3fe8758b2c2b58d2" providerId="LiveId" clId="{76444A61-C3D3-48E5-B979-D806E92B623B}" dt="2020-09-06T14:17:57.610" v="268" actId="165"/>
          <ac:spMkLst>
            <pc:docMk/>
            <pc:sldMk cId="1371537393" sldId="2466"/>
            <ac:spMk id="51" creationId="{946E8A87-FA09-4152-8582-94C563A68855}"/>
          </ac:spMkLst>
        </pc:spChg>
        <pc:spChg chg="mod topLvl">
          <ac:chgData name="Eldert Grootenboer" userId="3fe8758b2c2b58d2" providerId="LiveId" clId="{76444A61-C3D3-48E5-B979-D806E92B623B}" dt="2020-09-06T14:17:57.610" v="268" actId="165"/>
          <ac:spMkLst>
            <pc:docMk/>
            <pc:sldMk cId="1371537393" sldId="2466"/>
            <ac:spMk id="52" creationId="{20361165-A8FB-4469-8714-7388344E65C9}"/>
          </ac:spMkLst>
        </pc:spChg>
        <pc:spChg chg="mod topLvl">
          <ac:chgData name="Eldert Grootenboer" userId="3fe8758b2c2b58d2" providerId="LiveId" clId="{76444A61-C3D3-48E5-B979-D806E92B623B}" dt="2020-09-06T14:17:57.610" v="268" actId="165"/>
          <ac:spMkLst>
            <pc:docMk/>
            <pc:sldMk cId="1371537393" sldId="2466"/>
            <ac:spMk id="53" creationId="{30EE81C1-CDF5-43F8-B186-0A7B115F6B5A}"/>
          </ac:spMkLst>
        </pc:spChg>
        <pc:spChg chg="mod topLvl">
          <ac:chgData name="Eldert Grootenboer" userId="3fe8758b2c2b58d2" providerId="LiveId" clId="{76444A61-C3D3-48E5-B979-D806E92B623B}" dt="2020-09-06T14:24:00.553" v="317" actId="20577"/>
          <ac:spMkLst>
            <pc:docMk/>
            <pc:sldMk cId="1371537393" sldId="2466"/>
            <ac:spMk id="54" creationId="{5BF9C32F-B5B5-4B5E-9CE1-4929BCC12241}"/>
          </ac:spMkLst>
        </pc:spChg>
        <pc:spChg chg="mod topLvl">
          <ac:chgData name="Eldert Grootenboer" userId="3fe8758b2c2b58d2" providerId="LiveId" clId="{76444A61-C3D3-48E5-B979-D806E92B623B}" dt="2020-09-06T14:17:57.610" v="268" actId="165"/>
          <ac:spMkLst>
            <pc:docMk/>
            <pc:sldMk cId="1371537393" sldId="2466"/>
            <ac:spMk id="55" creationId="{CC415121-CB8B-4566-B9AE-5677C01A25C7}"/>
          </ac:spMkLst>
        </pc:spChg>
        <pc:spChg chg="mod topLvl">
          <ac:chgData name="Eldert Grootenboer" userId="3fe8758b2c2b58d2" providerId="LiveId" clId="{76444A61-C3D3-48E5-B979-D806E92B623B}" dt="2020-09-06T14:17:57.610" v="268" actId="165"/>
          <ac:spMkLst>
            <pc:docMk/>
            <pc:sldMk cId="1371537393" sldId="2466"/>
            <ac:spMk id="56" creationId="{9DB41700-AEE6-4DE6-AA33-03C64D58D3B6}"/>
          </ac:spMkLst>
        </pc:spChg>
        <pc:spChg chg="mod topLvl">
          <ac:chgData name="Eldert Grootenboer" userId="3fe8758b2c2b58d2" providerId="LiveId" clId="{76444A61-C3D3-48E5-B979-D806E92B623B}" dt="2020-09-06T14:17:57.610" v="268" actId="165"/>
          <ac:spMkLst>
            <pc:docMk/>
            <pc:sldMk cId="1371537393" sldId="2466"/>
            <ac:spMk id="57" creationId="{BD79E23A-C3A0-4CFE-BF58-83CF2821B6B5}"/>
          </ac:spMkLst>
        </pc:spChg>
        <pc:spChg chg="mod topLvl">
          <ac:chgData name="Eldert Grootenboer" userId="3fe8758b2c2b58d2" providerId="LiveId" clId="{76444A61-C3D3-48E5-B979-D806E92B623B}" dt="2020-09-06T14:17:57.610" v="268" actId="165"/>
          <ac:spMkLst>
            <pc:docMk/>
            <pc:sldMk cId="1371537393" sldId="2466"/>
            <ac:spMk id="58" creationId="{27026C93-05B9-4391-B95A-C34F7360BEED}"/>
          </ac:spMkLst>
        </pc:spChg>
        <pc:spChg chg="mod topLvl">
          <ac:chgData name="Eldert Grootenboer" userId="3fe8758b2c2b58d2" providerId="LiveId" clId="{76444A61-C3D3-48E5-B979-D806E92B623B}" dt="2020-09-06T14:17:57.610" v="268" actId="165"/>
          <ac:spMkLst>
            <pc:docMk/>
            <pc:sldMk cId="1371537393" sldId="2466"/>
            <ac:spMk id="59" creationId="{ED80CD20-A940-4882-9AAE-93499CB9A6FD}"/>
          </ac:spMkLst>
        </pc:spChg>
        <pc:spChg chg="mod topLvl">
          <ac:chgData name="Eldert Grootenboer" userId="3fe8758b2c2b58d2" providerId="LiveId" clId="{76444A61-C3D3-48E5-B979-D806E92B623B}" dt="2020-09-06T14:17:57.610" v="268" actId="165"/>
          <ac:spMkLst>
            <pc:docMk/>
            <pc:sldMk cId="1371537393" sldId="2466"/>
            <ac:spMk id="60" creationId="{8C708278-502B-4FE4-AC0C-62A5E6D5BD1D}"/>
          </ac:spMkLst>
        </pc:spChg>
        <pc:spChg chg="mod topLvl">
          <ac:chgData name="Eldert Grootenboer" userId="3fe8758b2c2b58d2" providerId="LiveId" clId="{76444A61-C3D3-48E5-B979-D806E92B623B}" dt="2020-09-06T14:17:57.610" v="268" actId="165"/>
          <ac:spMkLst>
            <pc:docMk/>
            <pc:sldMk cId="1371537393" sldId="2466"/>
            <ac:spMk id="61" creationId="{B6FCB802-0EC3-40EC-BD51-457C7E8AB3C5}"/>
          </ac:spMkLst>
        </pc:spChg>
        <pc:spChg chg="mod topLvl">
          <ac:chgData name="Eldert Grootenboer" userId="3fe8758b2c2b58d2" providerId="LiveId" clId="{76444A61-C3D3-48E5-B979-D806E92B623B}" dt="2020-09-06T14:17:57.610" v="268" actId="165"/>
          <ac:spMkLst>
            <pc:docMk/>
            <pc:sldMk cId="1371537393" sldId="2466"/>
            <ac:spMk id="62" creationId="{473438C7-4408-4B1D-BB7E-12213CF92E8D}"/>
          </ac:spMkLst>
        </pc:spChg>
        <pc:spChg chg="mod topLvl">
          <ac:chgData name="Eldert Grootenboer" userId="3fe8758b2c2b58d2" providerId="LiveId" clId="{76444A61-C3D3-48E5-B979-D806E92B623B}" dt="2020-09-06T14:17:57.610" v="268" actId="165"/>
          <ac:spMkLst>
            <pc:docMk/>
            <pc:sldMk cId="1371537393" sldId="2466"/>
            <ac:spMk id="63" creationId="{DA536064-A8F6-4068-9C03-8B156AAA4037}"/>
          </ac:spMkLst>
        </pc:spChg>
        <pc:spChg chg="mod topLvl">
          <ac:chgData name="Eldert Grootenboer" userId="3fe8758b2c2b58d2" providerId="LiveId" clId="{76444A61-C3D3-48E5-B979-D806E92B623B}" dt="2020-09-06T14:17:57.610" v="268" actId="165"/>
          <ac:spMkLst>
            <pc:docMk/>
            <pc:sldMk cId="1371537393" sldId="2466"/>
            <ac:spMk id="64" creationId="{2F5492F9-60D0-4DB7-8CF1-0F65C71B80A4}"/>
          </ac:spMkLst>
        </pc:spChg>
        <pc:spChg chg="mod topLvl">
          <ac:chgData name="Eldert Grootenboer" userId="3fe8758b2c2b58d2" providerId="LiveId" clId="{76444A61-C3D3-48E5-B979-D806E92B623B}" dt="2020-09-06T14:17:57.610" v="268" actId="165"/>
          <ac:spMkLst>
            <pc:docMk/>
            <pc:sldMk cId="1371537393" sldId="2466"/>
            <ac:spMk id="65" creationId="{FE555653-5D74-484E-98A2-4D9BA3A62616}"/>
          </ac:spMkLst>
        </pc:spChg>
        <pc:spChg chg="mod topLvl">
          <ac:chgData name="Eldert Grootenboer" userId="3fe8758b2c2b58d2" providerId="LiveId" clId="{76444A61-C3D3-48E5-B979-D806E92B623B}" dt="2020-09-06T14:17:57.610" v="268" actId="165"/>
          <ac:spMkLst>
            <pc:docMk/>
            <pc:sldMk cId="1371537393" sldId="2466"/>
            <ac:spMk id="66" creationId="{862AC57B-F9AD-40AE-B052-581082A151B3}"/>
          </ac:spMkLst>
        </pc:spChg>
        <pc:spChg chg="mod topLvl">
          <ac:chgData name="Eldert Grootenboer" userId="3fe8758b2c2b58d2" providerId="LiveId" clId="{76444A61-C3D3-48E5-B979-D806E92B623B}" dt="2020-09-06T14:17:57.610" v="268" actId="165"/>
          <ac:spMkLst>
            <pc:docMk/>
            <pc:sldMk cId="1371537393" sldId="2466"/>
            <ac:spMk id="67" creationId="{2DF94AB8-FBCD-444A-B60E-883A9C00AD90}"/>
          </ac:spMkLst>
        </pc:spChg>
        <pc:spChg chg="mod topLvl">
          <ac:chgData name="Eldert Grootenboer" userId="3fe8758b2c2b58d2" providerId="LiveId" clId="{76444A61-C3D3-48E5-B979-D806E92B623B}" dt="2020-09-06T14:17:57.610" v="268" actId="165"/>
          <ac:spMkLst>
            <pc:docMk/>
            <pc:sldMk cId="1371537393" sldId="2466"/>
            <ac:spMk id="68" creationId="{2AA06E7F-30E6-481D-9CF1-3F84302B7C83}"/>
          </ac:spMkLst>
        </pc:spChg>
        <pc:spChg chg="add mod">
          <ac:chgData name="Eldert Grootenboer" userId="3fe8758b2c2b58d2" providerId="LiveId" clId="{76444A61-C3D3-48E5-B979-D806E92B623B}" dt="2020-09-06T14:21:46.245" v="299" actId="571"/>
          <ac:spMkLst>
            <pc:docMk/>
            <pc:sldMk cId="1371537393" sldId="2466"/>
            <ac:spMk id="69" creationId="{731F0803-CFCD-4CF9-A9B0-9B37A9739825}"/>
          </ac:spMkLst>
        </pc:spChg>
        <pc:spChg chg="add mod">
          <ac:chgData name="Eldert Grootenboer" userId="3fe8758b2c2b58d2" providerId="LiveId" clId="{76444A61-C3D3-48E5-B979-D806E92B623B}" dt="2020-09-06T14:21:46.245" v="299" actId="571"/>
          <ac:spMkLst>
            <pc:docMk/>
            <pc:sldMk cId="1371537393" sldId="2466"/>
            <ac:spMk id="70" creationId="{9760CB04-1291-41BA-B591-29D4CA4C30B4}"/>
          </ac:spMkLst>
        </pc:spChg>
        <pc:spChg chg="add mod">
          <ac:chgData name="Eldert Grootenboer" userId="3fe8758b2c2b58d2" providerId="LiveId" clId="{76444A61-C3D3-48E5-B979-D806E92B623B}" dt="2020-09-06T14:21:46.245" v="299" actId="571"/>
          <ac:spMkLst>
            <pc:docMk/>
            <pc:sldMk cId="1371537393" sldId="2466"/>
            <ac:spMk id="71" creationId="{F3BF2E48-B828-42BF-AD6C-29C4034EA605}"/>
          </ac:spMkLst>
        </pc:spChg>
        <pc:spChg chg="add mod">
          <ac:chgData name="Eldert Grootenboer" userId="3fe8758b2c2b58d2" providerId="LiveId" clId="{76444A61-C3D3-48E5-B979-D806E92B623B}" dt="2020-09-06T14:21:46.245" v="299" actId="571"/>
          <ac:spMkLst>
            <pc:docMk/>
            <pc:sldMk cId="1371537393" sldId="2466"/>
            <ac:spMk id="72" creationId="{78FA583E-F2DA-4BDD-8E55-9F16A6C2AEC4}"/>
          </ac:spMkLst>
        </pc:spChg>
        <pc:grpChg chg="mod">
          <ac:chgData name="Eldert Grootenboer" userId="3fe8758b2c2b58d2" providerId="LiveId" clId="{76444A61-C3D3-48E5-B979-D806E92B623B}" dt="2020-09-06T14:17:42.658" v="266" actId="338"/>
          <ac:grpSpMkLst>
            <pc:docMk/>
            <pc:sldMk cId="1371537393" sldId="2466"/>
            <ac:grpSpMk id="1" creationId="{00000000-0000-0000-0000-000000000000}"/>
          </ac:grpSpMkLst>
        </pc:grpChg>
        <pc:grpChg chg="del mod">
          <ac:chgData name="Eldert Grootenboer" userId="3fe8758b2c2b58d2" providerId="LiveId" clId="{76444A61-C3D3-48E5-B979-D806E92B623B}" dt="2020-09-06T14:17:57.610" v="268" actId="165"/>
          <ac:grpSpMkLst>
            <pc:docMk/>
            <pc:sldMk cId="1371537393" sldId="2466"/>
            <ac:grpSpMk id="8" creationId="{4C085ADD-2E8A-4ED1-BF83-0071B071F8D2}"/>
          </ac:grpSpMkLst>
        </pc:grpChg>
        <pc:graphicFrameChg chg="del mod modGraphic">
          <ac:chgData name="Eldert Grootenboer" userId="3fe8758b2c2b58d2" providerId="LiveId" clId="{76444A61-C3D3-48E5-B979-D806E92B623B}" dt="2020-09-06T14:16:19.165" v="236" actId="478"/>
          <ac:graphicFrameMkLst>
            <pc:docMk/>
            <pc:sldMk cId="1371537393" sldId="2466"/>
            <ac:graphicFrameMk id="3" creationId="{EF1BE059-6E56-4A40-8DFC-0364A3F897A1}"/>
          </ac:graphicFrameMkLst>
        </pc:graphicFrameChg>
        <pc:picChg chg="add del mod">
          <ac:chgData name="Eldert Grootenboer" userId="3fe8758b2c2b58d2" providerId="LiveId" clId="{76444A61-C3D3-48E5-B979-D806E92B623B}" dt="2020-09-06T14:17:11.858" v="240" actId="22"/>
          <ac:picMkLst>
            <pc:docMk/>
            <pc:sldMk cId="1371537393" sldId="2466"/>
            <ac:picMk id="5" creationId="{B3C72CD3-6414-4FEE-AAA7-579454A76469}"/>
          </ac:picMkLst>
        </pc:picChg>
        <pc:picChg chg="add del mod">
          <ac:chgData name="Eldert Grootenboer" userId="3fe8758b2c2b58d2" providerId="LiveId" clId="{76444A61-C3D3-48E5-B979-D806E92B623B}" dt="2020-09-06T14:17:42.658" v="266" actId="338"/>
          <ac:picMkLst>
            <pc:docMk/>
            <pc:sldMk cId="1371537393" sldId="2466"/>
            <ac:picMk id="7" creationId="{C25CE2B7-D381-49FE-82F8-1A6BD27CFD18}"/>
          </ac:picMkLst>
        </pc:picChg>
      </pc:sldChg>
      <pc:sldChg chg="modAnim">
        <pc:chgData name="Eldert Grootenboer" userId="3fe8758b2c2b58d2" providerId="LiveId" clId="{76444A61-C3D3-48E5-B979-D806E92B623B}" dt="2020-09-06T14:04:41.279" v="146"/>
        <pc:sldMkLst>
          <pc:docMk/>
          <pc:sldMk cId="2442968695" sldId="2468"/>
        </pc:sldMkLst>
      </pc:sldChg>
      <pc:sldChg chg="modSp mod modAnim">
        <pc:chgData name="Eldert Grootenboer" userId="3fe8758b2c2b58d2" providerId="LiveId" clId="{76444A61-C3D3-48E5-B979-D806E92B623B}" dt="2020-09-06T13:50:11.142" v="60" actId="20577"/>
        <pc:sldMkLst>
          <pc:docMk/>
          <pc:sldMk cId="1273414106" sldId="2470"/>
        </pc:sldMkLst>
        <pc:spChg chg="mod">
          <ac:chgData name="Eldert Grootenboer" userId="3fe8758b2c2b58d2" providerId="LiveId" clId="{76444A61-C3D3-48E5-B979-D806E92B623B}" dt="2020-09-06T13:48:23.041" v="15" actId="207"/>
          <ac:spMkLst>
            <pc:docMk/>
            <pc:sldMk cId="1273414106" sldId="2470"/>
            <ac:spMk id="4" creationId="{44882D54-6628-4034-8FB2-53451B1C9923}"/>
          </ac:spMkLst>
        </pc:spChg>
        <pc:spChg chg="mod">
          <ac:chgData name="Eldert Grootenboer" userId="3fe8758b2c2b58d2" providerId="LiveId" clId="{76444A61-C3D3-48E5-B979-D806E92B623B}" dt="2020-09-06T13:50:11.142" v="60" actId="20577"/>
          <ac:spMkLst>
            <pc:docMk/>
            <pc:sldMk cId="1273414106" sldId="2470"/>
            <ac:spMk id="6" creationId="{341C59DD-1CEE-47E7-9A09-51E9B4053D34}"/>
          </ac:spMkLst>
        </pc:spChg>
      </pc:sldChg>
      <pc:sldChg chg="modSp modAnim">
        <pc:chgData name="Eldert Grootenboer" userId="3fe8758b2c2b58d2" providerId="LiveId" clId="{76444A61-C3D3-48E5-B979-D806E92B623B}" dt="2020-09-06T13:49:36.496" v="43"/>
        <pc:sldMkLst>
          <pc:docMk/>
          <pc:sldMk cId="3003157003" sldId="2471"/>
        </pc:sldMkLst>
        <pc:spChg chg="mod">
          <ac:chgData name="Eldert Grootenboer" userId="3fe8758b2c2b58d2" providerId="LiveId" clId="{76444A61-C3D3-48E5-B979-D806E92B623B}" dt="2020-09-06T13:48:16.786" v="14" actId="207"/>
          <ac:spMkLst>
            <pc:docMk/>
            <pc:sldMk cId="3003157003" sldId="2471"/>
            <ac:spMk id="3" creationId="{8DD76ED4-3CAB-45DF-9305-BA03C1C08C70}"/>
          </ac:spMkLst>
        </pc:spChg>
      </pc:sldChg>
      <pc:sldChg chg="modAnim">
        <pc:chgData name="Eldert Grootenboer" userId="3fe8758b2c2b58d2" providerId="LiveId" clId="{76444A61-C3D3-48E5-B979-D806E92B623B}" dt="2020-09-06T13:58:26.401" v="93"/>
        <pc:sldMkLst>
          <pc:docMk/>
          <pc:sldMk cId="2733932280" sldId="2476"/>
        </pc:sldMkLst>
      </pc:sldChg>
      <pc:sldChg chg="modSp">
        <pc:chgData name="Eldert Grootenboer" userId="3fe8758b2c2b58d2" providerId="LiveId" clId="{76444A61-C3D3-48E5-B979-D806E92B623B}" dt="2020-09-06T13:58:43.782" v="94" actId="20577"/>
        <pc:sldMkLst>
          <pc:docMk/>
          <pc:sldMk cId="1204489014" sldId="2477"/>
        </pc:sldMkLst>
        <pc:spChg chg="mod">
          <ac:chgData name="Eldert Grootenboer" userId="3fe8758b2c2b58d2" providerId="LiveId" clId="{76444A61-C3D3-48E5-B979-D806E92B623B}" dt="2020-09-06T13:58:43.782" v="94" actId="20577"/>
          <ac:spMkLst>
            <pc:docMk/>
            <pc:sldMk cId="1204489014" sldId="2477"/>
            <ac:spMk id="4" creationId="{26C40F69-2581-4C2A-843E-50D33E1C8E47}"/>
          </ac:spMkLst>
        </pc:spChg>
      </pc:sldChg>
      <pc:sldChg chg="modSp modAnim">
        <pc:chgData name="Eldert Grootenboer" userId="3fe8758b2c2b58d2" providerId="LiveId" clId="{76444A61-C3D3-48E5-B979-D806E92B623B}" dt="2020-09-06T14:05:26.225" v="155"/>
        <pc:sldMkLst>
          <pc:docMk/>
          <pc:sldMk cId="3009207040" sldId="2478"/>
        </pc:sldMkLst>
        <pc:graphicFrameChg chg="mod">
          <ac:chgData name="Eldert Grootenboer" userId="3fe8758b2c2b58d2" providerId="LiveId" clId="{76444A61-C3D3-48E5-B979-D806E92B623B}" dt="2020-09-06T13:54:14.228" v="71"/>
          <ac:graphicFrameMkLst>
            <pc:docMk/>
            <pc:sldMk cId="3009207040" sldId="2478"/>
            <ac:graphicFrameMk id="7" creationId="{D7432A32-B136-4A83-BBC9-0036438E3D11}"/>
          </ac:graphicFrameMkLst>
        </pc:graphicFrameChg>
      </pc:sldChg>
      <pc:sldChg chg="modSp modAnim">
        <pc:chgData name="Eldert Grootenboer" userId="3fe8758b2c2b58d2" providerId="LiveId" clId="{76444A61-C3D3-48E5-B979-D806E92B623B}" dt="2020-09-06T14:08:24.298" v="193"/>
        <pc:sldMkLst>
          <pc:docMk/>
          <pc:sldMk cId="3010686152" sldId="2480"/>
        </pc:sldMkLst>
        <pc:graphicFrameChg chg="mod">
          <ac:chgData name="Eldert Grootenboer" userId="3fe8758b2c2b58d2" providerId="LiveId" clId="{76444A61-C3D3-48E5-B979-D806E92B623B}" dt="2020-09-06T13:53:29.983" v="65" actId="255"/>
          <ac:graphicFrameMkLst>
            <pc:docMk/>
            <pc:sldMk cId="3010686152" sldId="2480"/>
            <ac:graphicFrameMk id="8" creationId="{AE6E09E3-B0CA-4404-97FB-EA02B93BD2EC}"/>
          </ac:graphicFrameMkLst>
        </pc:graphicFrameChg>
      </pc:sldChg>
      <pc:sldChg chg="modSp modAnim">
        <pc:chgData name="Eldert Grootenboer" userId="3fe8758b2c2b58d2" providerId="LiveId" clId="{76444A61-C3D3-48E5-B979-D806E92B623B}" dt="2020-09-06T14:09:46.296" v="207"/>
        <pc:sldMkLst>
          <pc:docMk/>
          <pc:sldMk cId="2714315879" sldId="2481"/>
        </pc:sldMkLst>
        <pc:graphicFrameChg chg="mod">
          <ac:chgData name="Eldert Grootenboer" userId="3fe8758b2c2b58d2" providerId="LiveId" clId="{76444A61-C3D3-48E5-B979-D806E92B623B}" dt="2020-09-06T13:53:41.623" v="67" actId="255"/>
          <ac:graphicFrameMkLst>
            <pc:docMk/>
            <pc:sldMk cId="2714315879" sldId="2481"/>
            <ac:graphicFrameMk id="10" creationId="{899E9769-C965-4FA3-B0A6-4522C60A4953}"/>
          </ac:graphicFrameMkLst>
        </pc:graphicFrameChg>
      </pc:sldChg>
      <pc:sldChg chg="modSp ord modAnim">
        <pc:chgData name="Eldert Grootenboer" userId="3fe8758b2c2b58d2" providerId="LiveId" clId="{76444A61-C3D3-48E5-B979-D806E92B623B}" dt="2020-09-06T14:08:59.941" v="200"/>
        <pc:sldMkLst>
          <pc:docMk/>
          <pc:sldMk cId="432779400" sldId="2483"/>
        </pc:sldMkLst>
        <pc:graphicFrameChg chg="mod">
          <ac:chgData name="Eldert Grootenboer" userId="3fe8758b2c2b58d2" providerId="LiveId" clId="{76444A61-C3D3-48E5-B979-D806E92B623B}" dt="2020-09-06T13:53:35.521" v="66" actId="255"/>
          <ac:graphicFrameMkLst>
            <pc:docMk/>
            <pc:sldMk cId="432779400" sldId="2483"/>
            <ac:graphicFrameMk id="6" creationId="{70A17862-498F-474C-BDD6-1E831846D536}"/>
          </ac:graphicFrameMkLst>
        </pc:graphicFrameChg>
      </pc:sldChg>
      <pc:sldChg chg="modSp modAnim">
        <pc:chgData name="Eldert Grootenboer" userId="3fe8758b2c2b58d2" providerId="LiveId" clId="{76444A61-C3D3-48E5-B979-D806E92B623B}" dt="2020-09-06T14:10:33.394" v="220"/>
        <pc:sldMkLst>
          <pc:docMk/>
          <pc:sldMk cId="2308237534" sldId="2484"/>
        </pc:sldMkLst>
        <pc:graphicFrameChg chg="mod">
          <ac:chgData name="Eldert Grootenboer" userId="3fe8758b2c2b58d2" providerId="LiveId" clId="{76444A61-C3D3-48E5-B979-D806E92B623B}" dt="2020-09-06T13:53:54.353" v="69" actId="255"/>
          <ac:graphicFrameMkLst>
            <pc:docMk/>
            <pc:sldMk cId="2308237534" sldId="2484"/>
            <ac:graphicFrameMk id="7" creationId="{0B2F1157-E694-404E-A347-E767E5834F7E}"/>
          </ac:graphicFrameMkLst>
        </pc:graphicFrameChg>
      </pc:sldChg>
      <pc:sldChg chg="modSp modAnim">
        <pc:chgData name="Eldert Grootenboer" userId="3fe8758b2c2b58d2" providerId="LiveId" clId="{76444A61-C3D3-48E5-B979-D806E92B623B}" dt="2020-09-06T14:10:09.137" v="214"/>
        <pc:sldMkLst>
          <pc:docMk/>
          <pc:sldMk cId="79465797" sldId="2487"/>
        </pc:sldMkLst>
        <pc:graphicFrameChg chg="mod">
          <ac:chgData name="Eldert Grootenboer" userId="3fe8758b2c2b58d2" providerId="LiveId" clId="{76444A61-C3D3-48E5-B979-D806E92B623B}" dt="2020-09-06T13:53:48.467" v="68" actId="255"/>
          <ac:graphicFrameMkLst>
            <pc:docMk/>
            <pc:sldMk cId="79465797" sldId="2487"/>
            <ac:graphicFrameMk id="10" creationId="{899E9769-C965-4FA3-B0A6-4522C60A4953}"/>
          </ac:graphicFrameMkLst>
        </pc:graphicFrameChg>
      </pc:sldChg>
      <pc:sldChg chg="modAnim">
        <pc:chgData name="Eldert Grootenboer" userId="3fe8758b2c2b58d2" providerId="LiveId" clId="{76444A61-C3D3-48E5-B979-D806E92B623B}" dt="2020-09-06T14:06:36.988" v="171"/>
        <pc:sldMkLst>
          <pc:docMk/>
          <pc:sldMk cId="3423999562" sldId="2489"/>
        </pc:sldMkLst>
      </pc:sldChg>
      <pc:sldChg chg="add del mod modShow">
        <pc:chgData name="Eldert Grootenboer" userId="3fe8758b2c2b58d2" providerId="LiveId" clId="{76444A61-C3D3-48E5-B979-D806E92B623B}" dt="2020-09-06T14:24:25.060" v="318" actId="47"/>
        <pc:sldMkLst>
          <pc:docMk/>
          <pc:sldMk cId="978148726" sldId="2490"/>
        </pc:sldMk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5EB848-6351-40CE-81BB-84A3203F8A77}" type="doc">
      <dgm:prSet loTypeId="urn:microsoft.com/office/officeart/2018/2/layout/IconLabelList" loCatId="icon" qsTypeId="urn:microsoft.com/office/officeart/2005/8/quickstyle/simple1" qsCatId="simple" csTypeId="urn:microsoft.com/office/officeart/2005/8/colors/colorful5" csCatId="colorful" phldr="1"/>
      <dgm:spPr/>
      <dgm:t>
        <a:bodyPr/>
        <a:lstStyle/>
        <a:p>
          <a:endParaRPr lang="en-US"/>
        </a:p>
      </dgm:t>
    </dgm:pt>
    <dgm:pt modelId="{72C3C7C7-FCC3-4592-8140-2CA06A8D42B0}">
      <dgm:prSet/>
      <dgm:spPr>
        <a:ln>
          <a:noFill/>
        </a:ln>
      </dgm:spPr>
      <dgm:t>
        <a:bodyPr/>
        <a:lstStyle/>
        <a:p>
          <a:r>
            <a:rPr lang="en-US">
              <a:solidFill>
                <a:schemeClr val="bg1"/>
              </a:solidFill>
            </a:rPr>
            <a:t>Time is precious</a:t>
          </a:r>
        </a:p>
      </dgm:t>
    </dgm:pt>
    <dgm:pt modelId="{F48D7B71-0685-4F67-A649-79E018E65161}" type="parTrans" cxnId="{80140B8C-845B-4165-B31D-F78D8A6EF11F}">
      <dgm:prSet/>
      <dgm:spPr/>
      <dgm:t>
        <a:bodyPr/>
        <a:lstStyle/>
        <a:p>
          <a:endParaRPr lang="en-US" sz="2400"/>
        </a:p>
      </dgm:t>
    </dgm:pt>
    <dgm:pt modelId="{39071E19-FF13-4607-8919-EA535E6B095E}" type="sibTrans" cxnId="{80140B8C-845B-4165-B31D-F78D8A6EF11F}">
      <dgm:prSet/>
      <dgm:spPr/>
      <dgm:t>
        <a:bodyPr/>
        <a:lstStyle/>
        <a:p>
          <a:endParaRPr lang="en-US" sz="2400"/>
        </a:p>
      </dgm:t>
    </dgm:pt>
    <dgm:pt modelId="{748B42BA-FA48-451D-AC38-22D54F0E71B4}">
      <dgm:prSet/>
      <dgm:spPr>
        <a:ln>
          <a:noFill/>
        </a:ln>
      </dgm:spPr>
      <dgm:t>
        <a:bodyPr/>
        <a:lstStyle/>
        <a:p>
          <a:r>
            <a:rPr lang="en-US" dirty="0">
              <a:solidFill>
                <a:schemeClr val="bg1"/>
              </a:solidFill>
            </a:rPr>
            <a:t>Wasted on repetitive tasks</a:t>
          </a:r>
        </a:p>
      </dgm:t>
    </dgm:pt>
    <dgm:pt modelId="{9D7677BA-46DB-4E60-9C20-34B0C492D5BB}" type="parTrans" cxnId="{F96E493B-7A30-4816-B87A-9CD5BF1B151A}">
      <dgm:prSet/>
      <dgm:spPr/>
      <dgm:t>
        <a:bodyPr/>
        <a:lstStyle/>
        <a:p>
          <a:endParaRPr lang="nl-NL"/>
        </a:p>
      </dgm:t>
    </dgm:pt>
    <dgm:pt modelId="{38E48B20-B704-49F9-B857-A2ED4FFF8C37}" type="sibTrans" cxnId="{F96E493B-7A30-4816-B87A-9CD5BF1B151A}">
      <dgm:prSet/>
      <dgm:spPr/>
      <dgm:t>
        <a:bodyPr/>
        <a:lstStyle/>
        <a:p>
          <a:endParaRPr lang="nl-NL"/>
        </a:p>
      </dgm:t>
    </dgm:pt>
    <dgm:pt modelId="{BBB0DB80-01E2-45A1-BE5D-78CBA033AE07}">
      <dgm:prSet/>
      <dgm:spPr>
        <a:ln>
          <a:noFill/>
        </a:ln>
      </dgm:spPr>
      <dgm:t>
        <a:bodyPr/>
        <a:lstStyle/>
        <a:p>
          <a:r>
            <a:rPr lang="en-US">
              <a:solidFill>
                <a:schemeClr val="bg1"/>
              </a:solidFill>
            </a:rPr>
            <a:t>Less time for innovation</a:t>
          </a:r>
        </a:p>
      </dgm:t>
    </dgm:pt>
    <dgm:pt modelId="{1899BF49-F5F2-4773-AED5-B73D2C62C6CF}" type="parTrans" cxnId="{A1B92842-A3A0-4A30-BCB5-DCD37735651D}">
      <dgm:prSet/>
      <dgm:spPr/>
      <dgm:t>
        <a:bodyPr/>
        <a:lstStyle/>
        <a:p>
          <a:endParaRPr lang="nl-NL"/>
        </a:p>
      </dgm:t>
    </dgm:pt>
    <dgm:pt modelId="{88EC745D-9F3D-4282-BFCD-DC22ABFBF18B}" type="sibTrans" cxnId="{A1B92842-A3A0-4A30-BCB5-DCD37735651D}">
      <dgm:prSet/>
      <dgm:spPr/>
      <dgm:t>
        <a:bodyPr/>
        <a:lstStyle/>
        <a:p>
          <a:endParaRPr lang="nl-NL"/>
        </a:p>
      </dgm:t>
    </dgm:pt>
    <dgm:pt modelId="{53456998-9AE1-4CE0-8D49-9E6BD7223783}">
      <dgm:prSet/>
      <dgm:spPr>
        <a:ln>
          <a:noFill/>
        </a:ln>
      </dgm:spPr>
      <dgm:t>
        <a:bodyPr/>
        <a:lstStyle/>
        <a:p>
          <a:r>
            <a:rPr lang="en-US">
              <a:solidFill>
                <a:schemeClr val="bg1"/>
              </a:solidFill>
            </a:rPr>
            <a:t>Same task over and over</a:t>
          </a:r>
          <a:endParaRPr lang="nl-NL">
            <a:solidFill>
              <a:schemeClr val="bg1"/>
            </a:solidFill>
          </a:endParaRPr>
        </a:p>
      </dgm:t>
    </dgm:pt>
    <dgm:pt modelId="{E9DF26CB-394C-4074-871C-87002F852BC3}" type="parTrans" cxnId="{DE39D1F8-A14D-448F-A51D-9B27868BD034}">
      <dgm:prSet/>
      <dgm:spPr/>
      <dgm:t>
        <a:bodyPr/>
        <a:lstStyle/>
        <a:p>
          <a:endParaRPr lang="nl-NL"/>
        </a:p>
      </dgm:t>
    </dgm:pt>
    <dgm:pt modelId="{0966660E-3CE1-41E4-9EC5-16BE40029CFF}" type="sibTrans" cxnId="{DE39D1F8-A14D-448F-A51D-9B27868BD034}">
      <dgm:prSet/>
      <dgm:spPr/>
      <dgm:t>
        <a:bodyPr/>
        <a:lstStyle/>
        <a:p>
          <a:endParaRPr lang="nl-NL"/>
        </a:p>
      </dgm:t>
    </dgm:pt>
    <dgm:pt modelId="{214ED57C-2488-4962-BE7F-87A5EAB71B4B}">
      <dgm:prSet/>
      <dgm:spPr>
        <a:ln>
          <a:noFill/>
        </a:ln>
      </dgm:spPr>
      <dgm:t>
        <a:bodyPr/>
        <a:lstStyle/>
        <a:p>
          <a:r>
            <a:rPr lang="en-US">
              <a:solidFill>
                <a:schemeClr val="bg1"/>
              </a:solidFill>
            </a:rPr>
            <a:t>Risk for human error</a:t>
          </a:r>
          <a:endParaRPr lang="nl-NL">
            <a:solidFill>
              <a:schemeClr val="bg1"/>
            </a:solidFill>
          </a:endParaRPr>
        </a:p>
      </dgm:t>
    </dgm:pt>
    <dgm:pt modelId="{5D0A5559-8F75-4F33-A574-2EC09C944557}" type="parTrans" cxnId="{834E9D8B-3325-4315-B5FE-FFAE1B4CC971}">
      <dgm:prSet/>
      <dgm:spPr/>
      <dgm:t>
        <a:bodyPr/>
        <a:lstStyle/>
        <a:p>
          <a:endParaRPr lang="nl-NL"/>
        </a:p>
      </dgm:t>
    </dgm:pt>
    <dgm:pt modelId="{E70DCA85-0683-4803-B7C4-D9C6B8A1993E}" type="sibTrans" cxnId="{834E9D8B-3325-4315-B5FE-FFAE1B4CC971}">
      <dgm:prSet/>
      <dgm:spPr/>
      <dgm:t>
        <a:bodyPr/>
        <a:lstStyle/>
        <a:p>
          <a:endParaRPr lang="nl-NL"/>
        </a:p>
      </dgm:t>
    </dgm:pt>
    <dgm:pt modelId="{7714FDBB-B2C8-4ABB-8E1D-F3E19542892F}">
      <dgm:prSet/>
      <dgm:spPr>
        <a:ln>
          <a:noFill/>
        </a:ln>
      </dgm:spPr>
      <dgm:t>
        <a:bodyPr/>
        <a:lstStyle/>
        <a:p>
          <a:r>
            <a:rPr lang="en-US">
              <a:solidFill>
                <a:schemeClr val="bg1"/>
              </a:solidFill>
            </a:rPr>
            <a:t>Hard to maintain security and governance</a:t>
          </a:r>
          <a:endParaRPr lang="nl-NL">
            <a:solidFill>
              <a:schemeClr val="bg1"/>
            </a:solidFill>
          </a:endParaRPr>
        </a:p>
      </dgm:t>
    </dgm:pt>
    <dgm:pt modelId="{3218A727-C90B-475E-ADF8-04DE8A956C2A}" type="parTrans" cxnId="{5BC1D977-3EB4-4501-BE89-2DA7306D1EB1}">
      <dgm:prSet/>
      <dgm:spPr/>
      <dgm:t>
        <a:bodyPr/>
        <a:lstStyle/>
        <a:p>
          <a:endParaRPr lang="nl-NL"/>
        </a:p>
      </dgm:t>
    </dgm:pt>
    <dgm:pt modelId="{81DFD520-504D-41AD-AC22-0479B63389B9}" type="sibTrans" cxnId="{5BC1D977-3EB4-4501-BE89-2DA7306D1EB1}">
      <dgm:prSet/>
      <dgm:spPr/>
      <dgm:t>
        <a:bodyPr/>
        <a:lstStyle/>
        <a:p>
          <a:endParaRPr lang="nl-NL"/>
        </a:p>
      </dgm:t>
    </dgm:pt>
    <dgm:pt modelId="{95B7BA2F-ADB2-49B6-9DAF-AD9ADF58771B}" type="pres">
      <dgm:prSet presAssocID="{A05EB848-6351-40CE-81BB-84A3203F8A77}" presName="root" presStyleCnt="0">
        <dgm:presLayoutVars>
          <dgm:dir/>
          <dgm:resizeHandles val="exact"/>
        </dgm:presLayoutVars>
      </dgm:prSet>
      <dgm:spPr/>
    </dgm:pt>
    <dgm:pt modelId="{E5B0A916-4D2F-43EC-9A45-08C005ED05D4}" type="pres">
      <dgm:prSet presAssocID="{72C3C7C7-FCC3-4592-8140-2CA06A8D42B0}" presName="compNode" presStyleCnt="0"/>
      <dgm:spPr/>
    </dgm:pt>
    <dgm:pt modelId="{EFD714D9-F587-4EB8-B2D4-7AEC242595AF}" type="pres">
      <dgm:prSet presAssocID="{72C3C7C7-FCC3-4592-8140-2CA06A8D42B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iggy Bank"/>
        </a:ext>
      </dgm:extLst>
    </dgm:pt>
    <dgm:pt modelId="{AC834129-030E-45E7-98E6-1D00E062A8AD}" type="pres">
      <dgm:prSet presAssocID="{72C3C7C7-FCC3-4592-8140-2CA06A8D42B0}" presName="spaceRect" presStyleCnt="0"/>
      <dgm:spPr/>
    </dgm:pt>
    <dgm:pt modelId="{FA03EF87-472D-465A-AB78-689376A2F2F2}" type="pres">
      <dgm:prSet presAssocID="{72C3C7C7-FCC3-4592-8140-2CA06A8D42B0}" presName="textRect" presStyleLbl="revTx" presStyleIdx="0" presStyleCnt="6">
        <dgm:presLayoutVars>
          <dgm:chMax val="1"/>
          <dgm:chPref val="1"/>
        </dgm:presLayoutVars>
      </dgm:prSet>
      <dgm:spPr/>
    </dgm:pt>
    <dgm:pt modelId="{DE8EA7B5-CFCF-405A-8BD5-8D8ACD05EAE9}" type="pres">
      <dgm:prSet presAssocID="{39071E19-FF13-4607-8919-EA535E6B095E}" presName="sibTrans" presStyleCnt="0"/>
      <dgm:spPr/>
    </dgm:pt>
    <dgm:pt modelId="{0D5C9CEE-16E0-4EDB-8C62-760DB1FEE062}" type="pres">
      <dgm:prSet presAssocID="{748B42BA-FA48-451D-AC38-22D54F0E71B4}" presName="compNode" presStyleCnt="0"/>
      <dgm:spPr/>
    </dgm:pt>
    <dgm:pt modelId="{F1706A4C-7373-4261-ACB3-E8CFFE5FC413}" type="pres">
      <dgm:prSet presAssocID="{748B42BA-FA48-451D-AC38-22D54F0E71B4}"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arning"/>
        </a:ext>
      </dgm:extLst>
    </dgm:pt>
    <dgm:pt modelId="{7B521C8D-C890-410F-876A-EFEA1C32C3FD}" type="pres">
      <dgm:prSet presAssocID="{748B42BA-FA48-451D-AC38-22D54F0E71B4}" presName="spaceRect" presStyleCnt="0"/>
      <dgm:spPr/>
    </dgm:pt>
    <dgm:pt modelId="{5DDAB2BF-B204-4A00-9949-8CD0B374CE91}" type="pres">
      <dgm:prSet presAssocID="{748B42BA-FA48-451D-AC38-22D54F0E71B4}" presName="textRect" presStyleLbl="revTx" presStyleIdx="1" presStyleCnt="6">
        <dgm:presLayoutVars>
          <dgm:chMax val="1"/>
          <dgm:chPref val="1"/>
        </dgm:presLayoutVars>
      </dgm:prSet>
      <dgm:spPr/>
    </dgm:pt>
    <dgm:pt modelId="{B61F1ADD-03F7-46F9-9070-3756848379A2}" type="pres">
      <dgm:prSet presAssocID="{38E48B20-B704-49F9-B857-A2ED4FFF8C37}" presName="sibTrans" presStyleCnt="0"/>
      <dgm:spPr/>
    </dgm:pt>
    <dgm:pt modelId="{5E4EDDF7-07D4-4F70-B0E9-13B97527500A}" type="pres">
      <dgm:prSet presAssocID="{BBB0DB80-01E2-45A1-BE5D-78CBA033AE07}" presName="compNode" presStyleCnt="0"/>
      <dgm:spPr/>
    </dgm:pt>
    <dgm:pt modelId="{DF8B8908-9E67-458D-A623-E2CE43DD6F54}" type="pres">
      <dgm:prSet presAssocID="{BBB0DB80-01E2-45A1-BE5D-78CBA033AE07}"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ightbulb"/>
        </a:ext>
      </dgm:extLst>
    </dgm:pt>
    <dgm:pt modelId="{9A74A870-2F37-4E13-85FB-7D7457631135}" type="pres">
      <dgm:prSet presAssocID="{BBB0DB80-01E2-45A1-BE5D-78CBA033AE07}" presName="spaceRect" presStyleCnt="0"/>
      <dgm:spPr/>
    </dgm:pt>
    <dgm:pt modelId="{FB48C227-C148-428C-8859-9F0BFC5E1269}" type="pres">
      <dgm:prSet presAssocID="{BBB0DB80-01E2-45A1-BE5D-78CBA033AE07}" presName="textRect" presStyleLbl="revTx" presStyleIdx="2" presStyleCnt="6">
        <dgm:presLayoutVars>
          <dgm:chMax val="1"/>
          <dgm:chPref val="1"/>
        </dgm:presLayoutVars>
      </dgm:prSet>
      <dgm:spPr/>
    </dgm:pt>
    <dgm:pt modelId="{583AB2EB-1CBF-474B-A88D-4E1074E78E34}" type="pres">
      <dgm:prSet presAssocID="{88EC745D-9F3D-4282-BFCD-DC22ABFBF18B}" presName="sibTrans" presStyleCnt="0"/>
      <dgm:spPr/>
    </dgm:pt>
    <dgm:pt modelId="{76F05000-1341-401C-82B0-A4F9E1C7D504}" type="pres">
      <dgm:prSet presAssocID="{53456998-9AE1-4CE0-8D49-9E6BD7223783}" presName="compNode" presStyleCnt="0"/>
      <dgm:spPr/>
    </dgm:pt>
    <dgm:pt modelId="{465FD3B9-D3C3-418D-BD35-9057E3B0A53B}" type="pres">
      <dgm:prSet presAssocID="{53456998-9AE1-4CE0-8D49-9E6BD7223783}" presName="iconRect" presStyleLbl="node1" presStyleIdx="3"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Repeat"/>
        </a:ext>
      </dgm:extLst>
    </dgm:pt>
    <dgm:pt modelId="{6781D2F4-4F66-4F79-8004-8B3F0662542E}" type="pres">
      <dgm:prSet presAssocID="{53456998-9AE1-4CE0-8D49-9E6BD7223783}" presName="spaceRect" presStyleCnt="0"/>
      <dgm:spPr/>
    </dgm:pt>
    <dgm:pt modelId="{854C65FC-FB95-4E1E-B6DD-B842202B6FCF}" type="pres">
      <dgm:prSet presAssocID="{53456998-9AE1-4CE0-8D49-9E6BD7223783}" presName="textRect" presStyleLbl="revTx" presStyleIdx="3" presStyleCnt="6">
        <dgm:presLayoutVars>
          <dgm:chMax val="1"/>
          <dgm:chPref val="1"/>
        </dgm:presLayoutVars>
      </dgm:prSet>
      <dgm:spPr/>
    </dgm:pt>
    <dgm:pt modelId="{5C927ECC-653A-4926-89AA-346316BF49D0}" type="pres">
      <dgm:prSet presAssocID="{0966660E-3CE1-41E4-9EC5-16BE40029CFF}" presName="sibTrans" presStyleCnt="0"/>
      <dgm:spPr/>
    </dgm:pt>
    <dgm:pt modelId="{1F1F611A-95DF-4FAB-ADC1-352CC36E1BF4}" type="pres">
      <dgm:prSet presAssocID="{214ED57C-2488-4962-BE7F-87A5EAB71B4B}" presName="compNode" presStyleCnt="0"/>
      <dgm:spPr/>
    </dgm:pt>
    <dgm:pt modelId="{BF480428-F562-4BCF-983A-9C04EAF747AA}" type="pres">
      <dgm:prSet presAssocID="{214ED57C-2488-4962-BE7F-87A5EAB71B4B}"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lippery"/>
        </a:ext>
      </dgm:extLst>
    </dgm:pt>
    <dgm:pt modelId="{42A4B865-8074-4692-B4B8-422A00873C9D}" type="pres">
      <dgm:prSet presAssocID="{214ED57C-2488-4962-BE7F-87A5EAB71B4B}" presName="spaceRect" presStyleCnt="0"/>
      <dgm:spPr/>
    </dgm:pt>
    <dgm:pt modelId="{7E65AFBF-5893-4C8F-A8DC-A01D3391079C}" type="pres">
      <dgm:prSet presAssocID="{214ED57C-2488-4962-BE7F-87A5EAB71B4B}" presName="textRect" presStyleLbl="revTx" presStyleIdx="4" presStyleCnt="6">
        <dgm:presLayoutVars>
          <dgm:chMax val="1"/>
          <dgm:chPref val="1"/>
        </dgm:presLayoutVars>
      </dgm:prSet>
      <dgm:spPr/>
    </dgm:pt>
    <dgm:pt modelId="{410D3C18-221A-403A-946F-523AD155628B}" type="pres">
      <dgm:prSet presAssocID="{E70DCA85-0683-4803-B7C4-D9C6B8A1993E}" presName="sibTrans" presStyleCnt="0"/>
      <dgm:spPr/>
    </dgm:pt>
    <dgm:pt modelId="{9390297C-AFEF-464A-9AEC-1F0EECD80B96}" type="pres">
      <dgm:prSet presAssocID="{7714FDBB-B2C8-4ABB-8E1D-F3E19542892F}" presName="compNode" presStyleCnt="0"/>
      <dgm:spPr/>
    </dgm:pt>
    <dgm:pt modelId="{C0BE0070-13D0-42FA-8DAD-8CE33BDEA459}" type="pres">
      <dgm:prSet presAssocID="{7714FDBB-B2C8-4ABB-8E1D-F3E19542892F}"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Badge Tick"/>
        </a:ext>
      </dgm:extLst>
    </dgm:pt>
    <dgm:pt modelId="{F032E0BF-5932-48C9-9142-22482FB2B7AD}" type="pres">
      <dgm:prSet presAssocID="{7714FDBB-B2C8-4ABB-8E1D-F3E19542892F}" presName="spaceRect" presStyleCnt="0"/>
      <dgm:spPr/>
    </dgm:pt>
    <dgm:pt modelId="{AA9D54E1-F42D-4168-A5D8-0B1ED291D4D7}" type="pres">
      <dgm:prSet presAssocID="{7714FDBB-B2C8-4ABB-8E1D-F3E19542892F}" presName="textRect" presStyleLbl="revTx" presStyleIdx="5" presStyleCnt="6">
        <dgm:presLayoutVars>
          <dgm:chMax val="1"/>
          <dgm:chPref val="1"/>
        </dgm:presLayoutVars>
      </dgm:prSet>
      <dgm:spPr/>
    </dgm:pt>
  </dgm:ptLst>
  <dgm:cxnLst>
    <dgm:cxn modelId="{F96E493B-7A30-4816-B87A-9CD5BF1B151A}" srcId="{A05EB848-6351-40CE-81BB-84A3203F8A77}" destId="{748B42BA-FA48-451D-AC38-22D54F0E71B4}" srcOrd="1" destOrd="0" parTransId="{9D7677BA-46DB-4E60-9C20-34B0C492D5BB}" sibTransId="{38E48B20-B704-49F9-B857-A2ED4FFF8C37}"/>
    <dgm:cxn modelId="{A1B92842-A3A0-4A30-BCB5-DCD37735651D}" srcId="{A05EB848-6351-40CE-81BB-84A3203F8A77}" destId="{BBB0DB80-01E2-45A1-BE5D-78CBA033AE07}" srcOrd="2" destOrd="0" parTransId="{1899BF49-F5F2-4773-AED5-B73D2C62C6CF}" sibTransId="{88EC745D-9F3D-4282-BFCD-DC22ABFBF18B}"/>
    <dgm:cxn modelId="{F1B66665-6C64-4E0B-8DC6-F0C4B2FEB06C}" type="presOf" srcId="{72C3C7C7-FCC3-4592-8140-2CA06A8D42B0}" destId="{FA03EF87-472D-465A-AB78-689376A2F2F2}" srcOrd="0" destOrd="0" presId="urn:microsoft.com/office/officeart/2018/2/layout/IconLabelList"/>
    <dgm:cxn modelId="{0CA7E447-44B8-4CA1-B9D7-560716DB1F6E}" type="presOf" srcId="{A05EB848-6351-40CE-81BB-84A3203F8A77}" destId="{95B7BA2F-ADB2-49B6-9DAF-AD9ADF58771B}" srcOrd="0" destOrd="0" presId="urn:microsoft.com/office/officeart/2018/2/layout/IconLabelList"/>
    <dgm:cxn modelId="{948D874C-B219-4F56-B59E-59A06A6B382D}" type="presOf" srcId="{7714FDBB-B2C8-4ABB-8E1D-F3E19542892F}" destId="{AA9D54E1-F42D-4168-A5D8-0B1ED291D4D7}" srcOrd="0" destOrd="0" presId="urn:microsoft.com/office/officeart/2018/2/layout/IconLabelList"/>
    <dgm:cxn modelId="{59E29F75-3102-4436-A7AF-295C56012497}" type="presOf" srcId="{214ED57C-2488-4962-BE7F-87A5EAB71B4B}" destId="{7E65AFBF-5893-4C8F-A8DC-A01D3391079C}" srcOrd="0" destOrd="0" presId="urn:microsoft.com/office/officeart/2018/2/layout/IconLabelList"/>
    <dgm:cxn modelId="{5BC1D977-3EB4-4501-BE89-2DA7306D1EB1}" srcId="{A05EB848-6351-40CE-81BB-84A3203F8A77}" destId="{7714FDBB-B2C8-4ABB-8E1D-F3E19542892F}" srcOrd="5" destOrd="0" parTransId="{3218A727-C90B-475E-ADF8-04DE8A956C2A}" sibTransId="{81DFD520-504D-41AD-AC22-0479B63389B9}"/>
    <dgm:cxn modelId="{7E8F207F-438F-4BBE-863E-2B37F7475736}" type="presOf" srcId="{53456998-9AE1-4CE0-8D49-9E6BD7223783}" destId="{854C65FC-FB95-4E1E-B6DD-B842202B6FCF}" srcOrd="0" destOrd="0" presId="urn:microsoft.com/office/officeart/2018/2/layout/IconLabelList"/>
    <dgm:cxn modelId="{B03A7582-D386-4C20-95F8-8F024500C28A}" type="presOf" srcId="{748B42BA-FA48-451D-AC38-22D54F0E71B4}" destId="{5DDAB2BF-B204-4A00-9949-8CD0B374CE91}" srcOrd="0" destOrd="0" presId="urn:microsoft.com/office/officeart/2018/2/layout/IconLabelList"/>
    <dgm:cxn modelId="{834E9D8B-3325-4315-B5FE-FFAE1B4CC971}" srcId="{A05EB848-6351-40CE-81BB-84A3203F8A77}" destId="{214ED57C-2488-4962-BE7F-87A5EAB71B4B}" srcOrd="4" destOrd="0" parTransId="{5D0A5559-8F75-4F33-A574-2EC09C944557}" sibTransId="{E70DCA85-0683-4803-B7C4-D9C6B8A1993E}"/>
    <dgm:cxn modelId="{80140B8C-845B-4165-B31D-F78D8A6EF11F}" srcId="{A05EB848-6351-40CE-81BB-84A3203F8A77}" destId="{72C3C7C7-FCC3-4592-8140-2CA06A8D42B0}" srcOrd="0" destOrd="0" parTransId="{F48D7B71-0685-4F67-A649-79E018E65161}" sibTransId="{39071E19-FF13-4607-8919-EA535E6B095E}"/>
    <dgm:cxn modelId="{C2E1ECA1-4097-49F7-8780-693C932F0169}" type="presOf" srcId="{BBB0DB80-01E2-45A1-BE5D-78CBA033AE07}" destId="{FB48C227-C148-428C-8859-9F0BFC5E1269}" srcOrd="0" destOrd="0" presId="urn:microsoft.com/office/officeart/2018/2/layout/IconLabelList"/>
    <dgm:cxn modelId="{DE39D1F8-A14D-448F-A51D-9B27868BD034}" srcId="{A05EB848-6351-40CE-81BB-84A3203F8A77}" destId="{53456998-9AE1-4CE0-8D49-9E6BD7223783}" srcOrd="3" destOrd="0" parTransId="{E9DF26CB-394C-4074-871C-87002F852BC3}" sibTransId="{0966660E-3CE1-41E4-9EC5-16BE40029CFF}"/>
    <dgm:cxn modelId="{F1FDF200-5ACE-44E7-96DD-2ABBB24DABC2}" type="presParOf" srcId="{95B7BA2F-ADB2-49B6-9DAF-AD9ADF58771B}" destId="{E5B0A916-4D2F-43EC-9A45-08C005ED05D4}" srcOrd="0" destOrd="0" presId="urn:microsoft.com/office/officeart/2018/2/layout/IconLabelList"/>
    <dgm:cxn modelId="{D78DF877-7801-4D10-853C-11E69702191C}" type="presParOf" srcId="{E5B0A916-4D2F-43EC-9A45-08C005ED05D4}" destId="{EFD714D9-F587-4EB8-B2D4-7AEC242595AF}" srcOrd="0" destOrd="0" presId="urn:microsoft.com/office/officeart/2018/2/layout/IconLabelList"/>
    <dgm:cxn modelId="{CAB522BE-4D56-4FBC-B366-CF05DAD5C349}" type="presParOf" srcId="{E5B0A916-4D2F-43EC-9A45-08C005ED05D4}" destId="{AC834129-030E-45E7-98E6-1D00E062A8AD}" srcOrd="1" destOrd="0" presId="urn:microsoft.com/office/officeart/2018/2/layout/IconLabelList"/>
    <dgm:cxn modelId="{B44D5088-F06C-4C48-8C99-1FAD1758D864}" type="presParOf" srcId="{E5B0A916-4D2F-43EC-9A45-08C005ED05D4}" destId="{FA03EF87-472D-465A-AB78-689376A2F2F2}" srcOrd="2" destOrd="0" presId="urn:microsoft.com/office/officeart/2018/2/layout/IconLabelList"/>
    <dgm:cxn modelId="{AB924727-C242-4D59-858E-9C9492042FA8}" type="presParOf" srcId="{95B7BA2F-ADB2-49B6-9DAF-AD9ADF58771B}" destId="{DE8EA7B5-CFCF-405A-8BD5-8D8ACD05EAE9}" srcOrd="1" destOrd="0" presId="urn:microsoft.com/office/officeart/2018/2/layout/IconLabelList"/>
    <dgm:cxn modelId="{109AF480-753D-459C-8155-881B0B8B24AB}" type="presParOf" srcId="{95B7BA2F-ADB2-49B6-9DAF-AD9ADF58771B}" destId="{0D5C9CEE-16E0-4EDB-8C62-760DB1FEE062}" srcOrd="2" destOrd="0" presId="urn:microsoft.com/office/officeart/2018/2/layout/IconLabelList"/>
    <dgm:cxn modelId="{753C94BB-99FA-4E08-8F29-91995FB74CBF}" type="presParOf" srcId="{0D5C9CEE-16E0-4EDB-8C62-760DB1FEE062}" destId="{F1706A4C-7373-4261-ACB3-E8CFFE5FC413}" srcOrd="0" destOrd="0" presId="urn:microsoft.com/office/officeart/2018/2/layout/IconLabelList"/>
    <dgm:cxn modelId="{163FF2C8-C405-4771-AFB1-EDE67ADCE270}" type="presParOf" srcId="{0D5C9CEE-16E0-4EDB-8C62-760DB1FEE062}" destId="{7B521C8D-C890-410F-876A-EFEA1C32C3FD}" srcOrd="1" destOrd="0" presId="urn:microsoft.com/office/officeart/2018/2/layout/IconLabelList"/>
    <dgm:cxn modelId="{82191488-AC67-4C1F-8E13-1F25C8CEA6AC}" type="presParOf" srcId="{0D5C9CEE-16E0-4EDB-8C62-760DB1FEE062}" destId="{5DDAB2BF-B204-4A00-9949-8CD0B374CE91}" srcOrd="2" destOrd="0" presId="urn:microsoft.com/office/officeart/2018/2/layout/IconLabelList"/>
    <dgm:cxn modelId="{E8E759A5-4E41-496A-9664-BD5F42A2D362}" type="presParOf" srcId="{95B7BA2F-ADB2-49B6-9DAF-AD9ADF58771B}" destId="{B61F1ADD-03F7-46F9-9070-3756848379A2}" srcOrd="3" destOrd="0" presId="urn:microsoft.com/office/officeart/2018/2/layout/IconLabelList"/>
    <dgm:cxn modelId="{D050DC54-69DF-43E7-A97B-2CB034224B83}" type="presParOf" srcId="{95B7BA2F-ADB2-49B6-9DAF-AD9ADF58771B}" destId="{5E4EDDF7-07D4-4F70-B0E9-13B97527500A}" srcOrd="4" destOrd="0" presId="urn:microsoft.com/office/officeart/2018/2/layout/IconLabelList"/>
    <dgm:cxn modelId="{A3056477-53C8-4C0B-B35E-26687CCC576F}" type="presParOf" srcId="{5E4EDDF7-07D4-4F70-B0E9-13B97527500A}" destId="{DF8B8908-9E67-458D-A623-E2CE43DD6F54}" srcOrd="0" destOrd="0" presId="urn:microsoft.com/office/officeart/2018/2/layout/IconLabelList"/>
    <dgm:cxn modelId="{AEA9E29D-9C7A-4FE6-8D08-34BEDE192147}" type="presParOf" srcId="{5E4EDDF7-07D4-4F70-B0E9-13B97527500A}" destId="{9A74A870-2F37-4E13-85FB-7D7457631135}" srcOrd="1" destOrd="0" presId="urn:microsoft.com/office/officeart/2018/2/layout/IconLabelList"/>
    <dgm:cxn modelId="{89D56735-0CD1-4B91-9C9C-DE02D0B3E841}" type="presParOf" srcId="{5E4EDDF7-07D4-4F70-B0E9-13B97527500A}" destId="{FB48C227-C148-428C-8859-9F0BFC5E1269}" srcOrd="2" destOrd="0" presId="urn:microsoft.com/office/officeart/2018/2/layout/IconLabelList"/>
    <dgm:cxn modelId="{6DE3F6CF-425D-408A-AB21-324566564091}" type="presParOf" srcId="{95B7BA2F-ADB2-49B6-9DAF-AD9ADF58771B}" destId="{583AB2EB-1CBF-474B-A88D-4E1074E78E34}" srcOrd="5" destOrd="0" presId="urn:microsoft.com/office/officeart/2018/2/layout/IconLabelList"/>
    <dgm:cxn modelId="{36F5F515-D34F-4E7C-92EC-6CED07F91E86}" type="presParOf" srcId="{95B7BA2F-ADB2-49B6-9DAF-AD9ADF58771B}" destId="{76F05000-1341-401C-82B0-A4F9E1C7D504}" srcOrd="6" destOrd="0" presId="urn:microsoft.com/office/officeart/2018/2/layout/IconLabelList"/>
    <dgm:cxn modelId="{B68E501A-F5F8-4DE5-8A1B-6BEB95510E7F}" type="presParOf" srcId="{76F05000-1341-401C-82B0-A4F9E1C7D504}" destId="{465FD3B9-D3C3-418D-BD35-9057E3B0A53B}" srcOrd="0" destOrd="0" presId="urn:microsoft.com/office/officeart/2018/2/layout/IconLabelList"/>
    <dgm:cxn modelId="{0C09C8E1-F8E7-40E0-B203-97AB28ACAEEB}" type="presParOf" srcId="{76F05000-1341-401C-82B0-A4F9E1C7D504}" destId="{6781D2F4-4F66-4F79-8004-8B3F0662542E}" srcOrd="1" destOrd="0" presId="urn:microsoft.com/office/officeart/2018/2/layout/IconLabelList"/>
    <dgm:cxn modelId="{5655E1BE-6BAB-4D09-988C-54D1DC5A1702}" type="presParOf" srcId="{76F05000-1341-401C-82B0-A4F9E1C7D504}" destId="{854C65FC-FB95-4E1E-B6DD-B842202B6FCF}" srcOrd="2" destOrd="0" presId="urn:microsoft.com/office/officeart/2018/2/layout/IconLabelList"/>
    <dgm:cxn modelId="{CB342E89-EAD1-47D5-849C-D8392D22FC47}" type="presParOf" srcId="{95B7BA2F-ADB2-49B6-9DAF-AD9ADF58771B}" destId="{5C927ECC-653A-4926-89AA-346316BF49D0}" srcOrd="7" destOrd="0" presId="urn:microsoft.com/office/officeart/2018/2/layout/IconLabelList"/>
    <dgm:cxn modelId="{3D45D7F4-6496-4FCA-BDC6-AC541A32B7D0}" type="presParOf" srcId="{95B7BA2F-ADB2-49B6-9DAF-AD9ADF58771B}" destId="{1F1F611A-95DF-4FAB-ADC1-352CC36E1BF4}" srcOrd="8" destOrd="0" presId="urn:microsoft.com/office/officeart/2018/2/layout/IconLabelList"/>
    <dgm:cxn modelId="{51A459B4-1B3C-41C5-94F1-ED52319B1CA7}" type="presParOf" srcId="{1F1F611A-95DF-4FAB-ADC1-352CC36E1BF4}" destId="{BF480428-F562-4BCF-983A-9C04EAF747AA}" srcOrd="0" destOrd="0" presId="urn:microsoft.com/office/officeart/2018/2/layout/IconLabelList"/>
    <dgm:cxn modelId="{B7FD9552-701D-492C-94E4-6C4912E7F529}" type="presParOf" srcId="{1F1F611A-95DF-4FAB-ADC1-352CC36E1BF4}" destId="{42A4B865-8074-4692-B4B8-422A00873C9D}" srcOrd="1" destOrd="0" presId="urn:microsoft.com/office/officeart/2018/2/layout/IconLabelList"/>
    <dgm:cxn modelId="{AE9C2782-95E2-4DBB-9669-1600527BD579}" type="presParOf" srcId="{1F1F611A-95DF-4FAB-ADC1-352CC36E1BF4}" destId="{7E65AFBF-5893-4C8F-A8DC-A01D3391079C}" srcOrd="2" destOrd="0" presId="urn:microsoft.com/office/officeart/2018/2/layout/IconLabelList"/>
    <dgm:cxn modelId="{A70AD2DB-7770-4F9B-997D-124DC8B8DBEA}" type="presParOf" srcId="{95B7BA2F-ADB2-49B6-9DAF-AD9ADF58771B}" destId="{410D3C18-221A-403A-946F-523AD155628B}" srcOrd="9" destOrd="0" presId="urn:microsoft.com/office/officeart/2018/2/layout/IconLabelList"/>
    <dgm:cxn modelId="{993C773D-4DFB-479D-8E94-8DA6D66EEB1B}" type="presParOf" srcId="{95B7BA2F-ADB2-49B6-9DAF-AD9ADF58771B}" destId="{9390297C-AFEF-464A-9AEC-1F0EECD80B96}" srcOrd="10" destOrd="0" presId="urn:microsoft.com/office/officeart/2018/2/layout/IconLabelList"/>
    <dgm:cxn modelId="{F4AEECCB-643E-4859-A24B-C4039E293FA3}" type="presParOf" srcId="{9390297C-AFEF-464A-9AEC-1F0EECD80B96}" destId="{C0BE0070-13D0-42FA-8DAD-8CE33BDEA459}" srcOrd="0" destOrd="0" presId="urn:microsoft.com/office/officeart/2018/2/layout/IconLabelList"/>
    <dgm:cxn modelId="{0D9ABA68-595C-4AD6-871B-B49CB172E715}" type="presParOf" srcId="{9390297C-AFEF-464A-9AEC-1F0EECD80B96}" destId="{F032E0BF-5932-48C9-9142-22482FB2B7AD}" srcOrd="1" destOrd="0" presId="urn:microsoft.com/office/officeart/2018/2/layout/IconLabelList"/>
    <dgm:cxn modelId="{F3E4C3E3-CEB6-4CF7-A8BC-27423B5C2751}" type="presParOf" srcId="{9390297C-AFEF-464A-9AEC-1F0EECD80B96}" destId="{AA9D54E1-F42D-4168-A5D8-0B1ED291D4D7}"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248F90D-A668-45F9-B405-84A5B7BD381A}"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9B0F8AF6-8C51-46FB-9C8F-72AFA8AA7616}">
      <dgm:prSet phldrT="[Text]"/>
      <dgm:spPr>
        <a:ln>
          <a:solidFill>
            <a:srgbClr val="7FC252"/>
          </a:solidFill>
        </a:ln>
      </dgm:spPr>
      <dgm:t>
        <a:bodyPr/>
        <a:lstStyle/>
        <a:p>
          <a:r>
            <a:rPr lang="en-US" dirty="0"/>
            <a:t>Time</a:t>
          </a:r>
        </a:p>
      </dgm:t>
    </dgm:pt>
    <dgm:pt modelId="{7E9435B5-169B-4DAF-BECF-35B3B2D60AE6}" type="parTrans" cxnId="{A310DFFA-AE66-4556-83BD-563641AB5462}">
      <dgm:prSet/>
      <dgm:spPr/>
      <dgm:t>
        <a:bodyPr/>
        <a:lstStyle/>
        <a:p>
          <a:endParaRPr lang="en-US"/>
        </a:p>
      </dgm:t>
    </dgm:pt>
    <dgm:pt modelId="{5F797C3A-8EA0-482B-AF0C-31D3C3DE67E9}" type="sibTrans" cxnId="{A310DFFA-AE66-4556-83BD-563641AB5462}">
      <dgm:prSet/>
      <dgm:spPr/>
      <dgm:t>
        <a:bodyPr/>
        <a:lstStyle/>
        <a:p>
          <a:endParaRPr lang="en-US"/>
        </a:p>
      </dgm:t>
    </dgm:pt>
    <dgm:pt modelId="{1A7E014C-D612-4437-93A3-FA7CCB8A1240}">
      <dgm:prSet phldrT="[Text]"/>
      <dgm:spPr>
        <a:ln>
          <a:solidFill>
            <a:srgbClr val="7FC252"/>
          </a:solidFill>
        </a:ln>
      </dgm:spPr>
      <dgm:t>
        <a:bodyPr/>
        <a:lstStyle/>
        <a:p>
          <a:r>
            <a:rPr lang="en-US" dirty="0"/>
            <a:t>Resources</a:t>
          </a:r>
        </a:p>
      </dgm:t>
    </dgm:pt>
    <dgm:pt modelId="{1D5A1239-346F-4671-8EAC-A7DFC9AC8317}" type="parTrans" cxnId="{1C12FADC-72DC-416D-9EE6-601940C98A8D}">
      <dgm:prSet/>
      <dgm:spPr/>
      <dgm:t>
        <a:bodyPr/>
        <a:lstStyle/>
        <a:p>
          <a:endParaRPr lang="en-US"/>
        </a:p>
      </dgm:t>
    </dgm:pt>
    <dgm:pt modelId="{46B41E4B-2835-4C2C-8DCC-A577A75CAB28}" type="sibTrans" cxnId="{1C12FADC-72DC-416D-9EE6-601940C98A8D}">
      <dgm:prSet/>
      <dgm:spPr/>
      <dgm:t>
        <a:bodyPr/>
        <a:lstStyle/>
        <a:p>
          <a:endParaRPr lang="en-US"/>
        </a:p>
      </dgm:t>
    </dgm:pt>
    <dgm:pt modelId="{33FDAD6C-2B73-4F66-94DF-E77CE8457C16}">
      <dgm:prSet phldrT="[Text]"/>
      <dgm:spPr>
        <a:ln>
          <a:solidFill>
            <a:srgbClr val="7FC252"/>
          </a:solidFill>
        </a:ln>
      </dgm:spPr>
      <dgm:t>
        <a:bodyPr/>
        <a:lstStyle/>
        <a:p>
          <a:r>
            <a:rPr lang="en-US" dirty="0"/>
            <a:t>Price</a:t>
          </a:r>
        </a:p>
      </dgm:t>
    </dgm:pt>
    <dgm:pt modelId="{03BB2756-EFD5-452E-8199-635CC84B7204}" type="parTrans" cxnId="{3FC1F65D-B1CF-4473-A705-15D764F94BC6}">
      <dgm:prSet/>
      <dgm:spPr/>
      <dgm:t>
        <a:bodyPr/>
        <a:lstStyle/>
        <a:p>
          <a:endParaRPr lang="en-US"/>
        </a:p>
      </dgm:t>
    </dgm:pt>
    <dgm:pt modelId="{25A55B0A-5B79-4F00-BA45-F3C52277FEF0}" type="sibTrans" cxnId="{3FC1F65D-B1CF-4473-A705-15D764F94BC6}">
      <dgm:prSet/>
      <dgm:spPr/>
      <dgm:t>
        <a:bodyPr/>
        <a:lstStyle/>
        <a:p>
          <a:endParaRPr lang="en-US"/>
        </a:p>
      </dgm:t>
    </dgm:pt>
    <dgm:pt modelId="{F7B8A712-1E00-45C9-9C7B-2CEFE75A27BC}">
      <dgm:prSet phldrT="[Text]"/>
      <dgm:spPr>
        <a:ln>
          <a:solidFill>
            <a:srgbClr val="7FC252"/>
          </a:solidFill>
        </a:ln>
      </dgm:spPr>
      <dgm:t>
        <a:bodyPr/>
        <a:lstStyle/>
        <a:p>
          <a:r>
            <a:rPr lang="en-US" dirty="0"/>
            <a:t>Data</a:t>
          </a:r>
        </a:p>
      </dgm:t>
    </dgm:pt>
    <dgm:pt modelId="{C3377455-075A-4E49-AEB9-1E3C88160DDF}" type="parTrans" cxnId="{A654EE70-D16C-4816-B19C-FE50BB14F5C2}">
      <dgm:prSet/>
      <dgm:spPr/>
      <dgm:t>
        <a:bodyPr/>
        <a:lstStyle/>
        <a:p>
          <a:endParaRPr lang="en-US"/>
        </a:p>
      </dgm:t>
    </dgm:pt>
    <dgm:pt modelId="{F045C866-3C7F-4794-94DD-83A956603115}" type="sibTrans" cxnId="{A654EE70-D16C-4816-B19C-FE50BB14F5C2}">
      <dgm:prSet/>
      <dgm:spPr/>
      <dgm:t>
        <a:bodyPr/>
        <a:lstStyle/>
        <a:p>
          <a:endParaRPr lang="en-US"/>
        </a:p>
      </dgm:t>
    </dgm:pt>
    <dgm:pt modelId="{4B38123A-B052-4B0E-9B59-319240778E33}">
      <dgm:prSet phldrT="[Text]"/>
      <dgm:spPr>
        <a:ln>
          <a:solidFill>
            <a:srgbClr val="7FC252"/>
          </a:solidFill>
        </a:ln>
      </dgm:spPr>
      <dgm:t>
        <a:bodyPr/>
        <a:lstStyle/>
        <a:p>
          <a:r>
            <a:rPr lang="en-US" dirty="0"/>
            <a:t>Maintenance</a:t>
          </a:r>
        </a:p>
      </dgm:t>
    </dgm:pt>
    <dgm:pt modelId="{1F795697-765B-4C58-B568-9D174491DC2B}" type="parTrans" cxnId="{C5F93BB4-3F79-40E4-9333-14F0BE2916B3}">
      <dgm:prSet/>
      <dgm:spPr/>
      <dgm:t>
        <a:bodyPr/>
        <a:lstStyle/>
        <a:p>
          <a:endParaRPr lang="en-US"/>
        </a:p>
      </dgm:t>
    </dgm:pt>
    <dgm:pt modelId="{CF4825E9-F9C4-440D-8D64-3364F6AD39C1}" type="sibTrans" cxnId="{C5F93BB4-3F79-40E4-9333-14F0BE2916B3}">
      <dgm:prSet/>
      <dgm:spPr/>
      <dgm:t>
        <a:bodyPr/>
        <a:lstStyle/>
        <a:p>
          <a:endParaRPr lang="en-US"/>
        </a:p>
      </dgm:t>
    </dgm:pt>
    <dgm:pt modelId="{362F88A3-603E-4612-8446-13FD52055A2F}" type="pres">
      <dgm:prSet presAssocID="{9248F90D-A668-45F9-B405-84A5B7BD381A}" presName="Name0" presStyleCnt="0">
        <dgm:presLayoutVars>
          <dgm:chMax val="11"/>
          <dgm:chPref val="11"/>
          <dgm:dir/>
          <dgm:resizeHandles/>
        </dgm:presLayoutVars>
      </dgm:prSet>
      <dgm:spPr/>
    </dgm:pt>
    <dgm:pt modelId="{5998D4AA-7038-48E8-BB2A-A0B06DAFB2E2}" type="pres">
      <dgm:prSet presAssocID="{4B38123A-B052-4B0E-9B59-319240778E33}" presName="Accent5" presStyleCnt="0"/>
      <dgm:spPr/>
    </dgm:pt>
    <dgm:pt modelId="{B7376E8C-7E7D-47B0-8F11-676B5BB6D2EA}" type="pres">
      <dgm:prSet presAssocID="{4B38123A-B052-4B0E-9B59-319240778E33}" presName="Accent" presStyleLbl="node1" presStyleIdx="0" presStyleCnt="5"/>
      <dgm:spPr>
        <a:solidFill>
          <a:srgbClr val="7FC252"/>
        </a:solidFill>
      </dgm:spPr>
    </dgm:pt>
    <dgm:pt modelId="{6C0D6E17-2514-48A2-A4A8-12AF2F2DE9F5}" type="pres">
      <dgm:prSet presAssocID="{4B38123A-B052-4B0E-9B59-319240778E33}" presName="ParentBackground5" presStyleCnt="0"/>
      <dgm:spPr/>
    </dgm:pt>
    <dgm:pt modelId="{BCC3F3FF-56C8-4AF8-AE7B-69804C910E0D}" type="pres">
      <dgm:prSet presAssocID="{4B38123A-B052-4B0E-9B59-319240778E33}" presName="ParentBackground" presStyleLbl="fgAcc1" presStyleIdx="0" presStyleCnt="5"/>
      <dgm:spPr/>
    </dgm:pt>
    <dgm:pt modelId="{7BF0AD3E-811A-45E1-8E26-81ABB146C184}" type="pres">
      <dgm:prSet presAssocID="{4B38123A-B052-4B0E-9B59-319240778E33}" presName="Parent5" presStyleLbl="revTx" presStyleIdx="0" presStyleCnt="0">
        <dgm:presLayoutVars>
          <dgm:chMax val="1"/>
          <dgm:chPref val="1"/>
          <dgm:bulletEnabled val="1"/>
        </dgm:presLayoutVars>
      </dgm:prSet>
      <dgm:spPr/>
    </dgm:pt>
    <dgm:pt modelId="{30B94B7A-C368-40CC-98C5-6A7BA01765EB}" type="pres">
      <dgm:prSet presAssocID="{F7B8A712-1E00-45C9-9C7B-2CEFE75A27BC}" presName="Accent4" presStyleCnt="0"/>
      <dgm:spPr/>
    </dgm:pt>
    <dgm:pt modelId="{43FFC5F6-CF74-44EF-9F07-B7D2F3186D34}" type="pres">
      <dgm:prSet presAssocID="{F7B8A712-1E00-45C9-9C7B-2CEFE75A27BC}" presName="Accent" presStyleLbl="node1" presStyleIdx="1" presStyleCnt="5"/>
      <dgm:spPr>
        <a:solidFill>
          <a:srgbClr val="7FC252"/>
        </a:solidFill>
      </dgm:spPr>
    </dgm:pt>
    <dgm:pt modelId="{BF99C5EA-59A7-44DF-9CB3-917C41D36BB7}" type="pres">
      <dgm:prSet presAssocID="{F7B8A712-1E00-45C9-9C7B-2CEFE75A27BC}" presName="ParentBackground4" presStyleCnt="0"/>
      <dgm:spPr/>
    </dgm:pt>
    <dgm:pt modelId="{9E594069-B8D6-4718-BE17-E17DD4A29607}" type="pres">
      <dgm:prSet presAssocID="{F7B8A712-1E00-45C9-9C7B-2CEFE75A27BC}" presName="ParentBackground" presStyleLbl="fgAcc1" presStyleIdx="1" presStyleCnt="5"/>
      <dgm:spPr/>
    </dgm:pt>
    <dgm:pt modelId="{EB5698B4-D078-4DF1-B8EE-95A96DE3C32C}" type="pres">
      <dgm:prSet presAssocID="{F7B8A712-1E00-45C9-9C7B-2CEFE75A27BC}" presName="Parent4" presStyleLbl="revTx" presStyleIdx="0" presStyleCnt="0">
        <dgm:presLayoutVars>
          <dgm:chMax val="1"/>
          <dgm:chPref val="1"/>
          <dgm:bulletEnabled val="1"/>
        </dgm:presLayoutVars>
      </dgm:prSet>
      <dgm:spPr/>
    </dgm:pt>
    <dgm:pt modelId="{9BADC801-C878-4D0A-87E1-6A1232FC86E8}" type="pres">
      <dgm:prSet presAssocID="{33FDAD6C-2B73-4F66-94DF-E77CE8457C16}" presName="Accent3" presStyleCnt="0"/>
      <dgm:spPr/>
    </dgm:pt>
    <dgm:pt modelId="{EE81E49E-E3D2-4977-95A7-EB0EC6C3DFFE}" type="pres">
      <dgm:prSet presAssocID="{33FDAD6C-2B73-4F66-94DF-E77CE8457C16}" presName="Accent" presStyleLbl="node1" presStyleIdx="2" presStyleCnt="5"/>
      <dgm:spPr>
        <a:solidFill>
          <a:srgbClr val="7FC252"/>
        </a:solidFill>
      </dgm:spPr>
    </dgm:pt>
    <dgm:pt modelId="{A99A30FC-074D-4C9A-8CFB-9968E62BB149}" type="pres">
      <dgm:prSet presAssocID="{33FDAD6C-2B73-4F66-94DF-E77CE8457C16}" presName="ParentBackground3" presStyleCnt="0"/>
      <dgm:spPr/>
    </dgm:pt>
    <dgm:pt modelId="{5A1FA031-07B5-4F83-8F96-79E3480793B6}" type="pres">
      <dgm:prSet presAssocID="{33FDAD6C-2B73-4F66-94DF-E77CE8457C16}" presName="ParentBackground" presStyleLbl="fgAcc1" presStyleIdx="2" presStyleCnt="5"/>
      <dgm:spPr/>
    </dgm:pt>
    <dgm:pt modelId="{24036FB1-8382-4616-9A6A-9F8E9808D945}" type="pres">
      <dgm:prSet presAssocID="{33FDAD6C-2B73-4F66-94DF-E77CE8457C16}" presName="Parent3" presStyleLbl="revTx" presStyleIdx="0" presStyleCnt="0">
        <dgm:presLayoutVars>
          <dgm:chMax val="1"/>
          <dgm:chPref val="1"/>
          <dgm:bulletEnabled val="1"/>
        </dgm:presLayoutVars>
      </dgm:prSet>
      <dgm:spPr/>
    </dgm:pt>
    <dgm:pt modelId="{F2117BD3-F8C6-4F12-A7AB-CEC8B2C0FD56}" type="pres">
      <dgm:prSet presAssocID="{1A7E014C-D612-4437-93A3-FA7CCB8A1240}" presName="Accent2" presStyleCnt="0"/>
      <dgm:spPr/>
    </dgm:pt>
    <dgm:pt modelId="{8E0BEC49-26B5-452A-AF68-89310487AB8F}" type="pres">
      <dgm:prSet presAssocID="{1A7E014C-D612-4437-93A3-FA7CCB8A1240}" presName="Accent" presStyleLbl="node1" presStyleIdx="3" presStyleCnt="5"/>
      <dgm:spPr>
        <a:solidFill>
          <a:srgbClr val="7FC252"/>
        </a:solidFill>
      </dgm:spPr>
    </dgm:pt>
    <dgm:pt modelId="{317DC8B2-0E0A-49CC-9886-0807B5B123D0}" type="pres">
      <dgm:prSet presAssocID="{1A7E014C-D612-4437-93A3-FA7CCB8A1240}" presName="ParentBackground2" presStyleCnt="0"/>
      <dgm:spPr/>
    </dgm:pt>
    <dgm:pt modelId="{94EB7DF9-4CCB-4B78-8D1E-D9032D7553EB}" type="pres">
      <dgm:prSet presAssocID="{1A7E014C-D612-4437-93A3-FA7CCB8A1240}" presName="ParentBackground" presStyleLbl="fgAcc1" presStyleIdx="3" presStyleCnt="5"/>
      <dgm:spPr/>
    </dgm:pt>
    <dgm:pt modelId="{229D7A12-61FA-4549-B0D6-AA114CAAFF33}" type="pres">
      <dgm:prSet presAssocID="{1A7E014C-D612-4437-93A3-FA7CCB8A1240}" presName="Parent2" presStyleLbl="revTx" presStyleIdx="0" presStyleCnt="0">
        <dgm:presLayoutVars>
          <dgm:chMax val="1"/>
          <dgm:chPref val="1"/>
          <dgm:bulletEnabled val="1"/>
        </dgm:presLayoutVars>
      </dgm:prSet>
      <dgm:spPr/>
    </dgm:pt>
    <dgm:pt modelId="{C0D2B0DD-9745-404C-AD4E-334EE26160B9}" type="pres">
      <dgm:prSet presAssocID="{9B0F8AF6-8C51-46FB-9C8F-72AFA8AA7616}" presName="Accent1" presStyleCnt="0"/>
      <dgm:spPr/>
    </dgm:pt>
    <dgm:pt modelId="{EB7CFF83-359C-4AE6-87BE-FF43DF04D97A}" type="pres">
      <dgm:prSet presAssocID="{9B0F8AF6-8C51-46FB-9C8F-72AFA8AA7616}" presName="Accent" presStyleLbl="node1" presStyleIdx="4" presStyleCnt="5"/>
      <dgm:spPr>
        <a:solidFill>
          <a:srgbClr val="7FC252"/>
        </a:solidFill>
      </dgm:spPr>
    </dgm:pt>
    <dgm:pt modelId="{2976335C-7B23-462C-88A2-DECD8D91B9A4}" type="pres">
      <dgm:prSet presAssocID="{9B0F8AF6-8C51-46FB-9C8F-72AFA8AA7616}" presName="ParentBackground1" presStyleCnt="0"/>
      <dgm:spPr/>
    </dgm:pt>
    <dgm:pt modelId="{B3444074-E43D-490F-8DED-3DD80A9147DF}" type="pres">
      <dgm:prSet presAssocID="{9B0F8AF6-8C51-46FB-9C8F-72AFA8AA7616}" presName="ParentBackground" presStyleLbl="fgAcc1" presStyleIdx="4" presStyleCnt="5"/>
      <dgm:spPr/>
    </dgm:pt>
    <dgm:pt modelId="{6F01B158-335D-4E61-980F-A687F84F58B1}" type="pres">
      <dgm:prSet presAssocID="{9B0F8AF6-8C51-46FB-9C8F-72AFA8AA7616}" presName="Parent1" presStyleLbl="revTx" presStyleIdx="0" presStyleCnt="0">
        <dgm:presLayoutVars>
          <dgm:chMax val="1"/>
          <dgm:chPref val="1"/>
          <dgm:bulletEnabled val="1"/>
        </dgm:presLayoutVars>
      </dgm:prSet>
      <dgm:spPr/>
    </dgm:pt>
  </dgm:ptLst>
  <dgm:cxnLst>
    <dgm:cxn modelId="{E47D970C-6E46-4C59-BAA2-41AC5E90A680}" type="presOf" srcId="{4B38123A-B052-4B0E-9B59-319240778E33}" destId="{BCC3F3FF-56C8-4AF8-AE7B-69804C910E0D}" srcOrd="0" destOrd="0" presId="urn:microsoft.com/office/officeart/2011/layout/CircleProcess"/>
    <dgm:cxn modelId="{4751802C-5130-490F-9F70-2E2D801A0A5B}" type="presOf" srcId="{F7B8A712-1E00-45C9-9C7B-2CEFE75A27BC}" destId="{9E594069-B8D6-4718-BE17-E17DD4A29607}" srcOrd="0" destOrd="0" presId="urn:microsoft.com/office/officeart/2011/layout/CircleProcess"/>
    <dgm:cxn modelId="{4194485D-D4A4-462B-8D05-B8E0E0C9D03B}" type="presOf" srcId="{33FDAD6C-2B73-4F66-94DF-E77CE8457C16}" destId="{24036FB1-8382-4616-9A6A-9F8E9808D945}" srcOrd="1" destOrd="0" presId="urn:microsoft.com/office/officeart/2011/layout/CircleProcess"/>
    <dgm:cxn modelId="{3FC1F65D-B1CF-4473-A705-15D764F94BC6}" srcId="{9248F90D-A668-45F9-B405-84A5B7BD381A}" destId="{33FDAD6C-2B73-4F66-94DF-E77CE8457C16}" srcOrd="2" destOrd="0" parTransId="{03BB2756-EFD5-452E-8199-635CC84B7204}" sibTransId="{25A55B0A-5B79-4F00-BA45-F3C52277FEF0}"/>
    <dgm:cxn modelId="{4818D346-9FD2-48E5-B3AE-04D8A7FE8FE9}" type="presOf" srcId="{1A7E014C-D612-4437-93A3-FA7CCB8A1240}" destId="{94EB7DF9-4CCB-4B78-8D1E-D9032D7553EB}" srcOrd="0" destOrd="0" presId="urn:microsoft.com/office/officeart/2011/layout/CircleProcess"/>
    <dgm:cxn modelId="{A654EE70-D16C-4816-B19C-FE50BB14F5C2}" srcId="{9248F90D-A668-45F9-B405-84A5B7BD381A}" destId="{F7B8A712-1E00-45C9-9C7B-2CEFE75A27BC}" srcOrd="3" destOrd="0" parTransId="{C3377455-075A-4E49-AEB9-1E3C88160DDF}" sibTransId="{F045C866-3C7F-4794-94DD-83A956603115}"/>
    <dgm:cxn modelId="{3385E67E-069B-4CEA-93CA-4AAD4D2C4F77}" type="presOf" srcId="{F7B8A712-1E00-45C9-9C7B-2CEFE75A27BC}" destId="{EB5698B4-D078-4DF1-B8EE-95A96DE3C32C}" srcOrd="1" destOrd="0" presId="urn:microsoft.com/office/officeart/2011/layout/CircleProcess"/>
    <dgm:cxn modelId="{A3A8AE7F-5E54-4E02-A8DC-314D93983D0B}" type="presOf" srcId="{9B0F8AF6-8C51-46FB-9C8F-72AFA8AA7616}" destId="{B3444074-E43D-490F-8DED-3DD80A9147DF}" srcOrd="0" destOrd="0" presId="urn:microsoft.com/office/officeart/2011/layout/CircleProcess"/>
    <dgm:cxn modelId="{E8341A84-C935-4717-A47D-46A8FFB947A0}" type="presOf" srcId="{1A7E014C-D612-4437-93A3-FA7CCB8A1240}" destId="{229D7A12-61FA-4549-B0D6-AA114CAAFF33}" srcOrd="1" destOrd="0" presId="urn:microsoft.com/office/officeart/2011/layout/CircleProcess"/>
    <dgm:cxn modelId="{CE4C9C9D-80F7-496C-A8CC-34D31C365E0D}" type="presOf" srcId="{9248F90D-A668-45F9-B405-84A5B7BD381A}" destId="{362F88A3-603E-4612-8446-13FD52055A2F}" srcOrd="0" destOrd="0" presId="urn:microsoft.com/office/officeart/2011/layout/CircleProcess"/>
    <dgm:cxn modelId="{C5F93BB4-3F79-40E4-9333-14F0BE2916B3}" srcId="{9248F90D-A668-45F9-B405-84A5B7BD381A}" destId="{4B38123A-B052-4B0E-9B59-319240778E33}" srcOrd="4" destOrd="0" parTransId="{1F795697-765B-4C58-B568-9D174491DC2B}" sibTransId="{CF4825E9-F9C4-440D-8D64-3364F6AD39C1}"/>
    <dgm:cxn modelId="{6AEC89D3-F1F9-433C-96AD-5E65CC65D6BA}" type="presOf" srcId="{4B38123A-B052-4B0E-9B59-319240778E33}" destId="{7BF0AD3E-811A-45E1-8E26-81ABB146C184}" srcOrd="1" destOrd="0" presId="urn:microsoft.com/office/officeart/2011/layout/CircleProcess"/>
    <dgm:cxn modelId="{19B6CCD6-51D2-4244-B566-F81D4E822C4E}" type="presOf" srcId="{9B0F8AF6-8C51-46FB-9C8F-72AFA8AA7616}" destId="{6F01B158-335D-4E61-980F-A687F84F58B1}" srcOrd="1" destOrd="0" presId="urn:microsoft.com/office/officeart/2011/layout/CircleProcess"/>
    <dgm:cxn modelId="{1C12FADC-72DC-416D-9EE6-601940C98A8D}" srcId="{9248F90D-A668-45F9-B405-84A5B7BD381A}" destId="{1A7E014C-D612-4437-93A3-FA7CCB8A1240}" srcOrd="1" destOrd="0" parTransId="{1D5A1239-346F-4671-8EAC-A7DFC9AC8317}" sibTransId="{46B41E4B-2835-4C2C-8DCC-A577A75CAB28}"/>
    <dgm:cxn modelId="{0EEC3AED-F576-4530-B0B6-BA0A5DD7AD0B}" type="presOf" srcId="{33FDAD6C-2B73-4F66-94DF-E77CE8457C16}" destId="{5A1FA031-07B5-4F83-8F96-79E3480793B6}" srcOrd="0" destOrd="0" presId="urn:microsoft.com/office/officeart/2011/layout/CircleProcess"/>
    <dgm:cxn modelId="{A310DFFA-AE66-4556-83BD-563641AB5462}" srcId="{9248F90D-A668-45F9-B405-84A5B7BD381A}" destId="{9B0F8AF6-8C51-46FB-9C8F-72AFA8AA7616}" srcOrd="0" destOrd="0" parTransId="{7E9435B5-169B-4DAF-BECF-35B3B2D60AE6}" sibTransId="{5F797C3A-8EA0-482B-AF0C-31D3C3DE67E9}"/>
    <dgm:cxn modelId="{24A96FC2-5C00-45CF-A923-AFF966CE47E8}" type="presParOf" srcId="{362F88A3-603E-4612-8446-13FD52055A2F}" destId="{5998D4AA-7038-48E8-BB2A-A0B06DAFB2E2}" srcOrd="0" destOrd="0" presId="urn:microsoft.com/office/officeart/2011/layout/CircleProcess"/>
    <dgm:cxn modelId="{C3309A60-77D4-402F-8AF4-DF5FADC3ADFE}" type="presParOf" srcId="{5998D4AA-7038-48E8-BB2A-A0B06DAFB2E2}" destId="{B7376E8C-7E7D-47B0-8F11-676B5BB6D2EA}" srcOrd="0" destOrd="0" presId="urn:microsoft.com/office/officeart/2011/layout/CircleProcess"/>
    <dgm:cxn modelId="{240B6044-9390-493E-98E6-FBAB47FAAD4B}" type="presParOf" srcId="{362F88A3-603E-4612-8446-13FD52055A2F}" destId="{6C0D6E17-2514-48A2-A4A8-12AF2F2DE9F5}" srcOrd="1" destOrd="0" presId="urn:microsoft.com/office/officeart/2011/layout/CircleProcess"/>
    <dgm:cxn modelId="{AC594130-ED91-4132-8AD7-FE14E5358617}" type="presParOf" srcId="{6C0D6E17-2514-48A2-A4A8-12AF2F2DE9F5}" destId="{BCC3F3FF-56C8-4AF8-AE7B-69804C910E0D}" srcOrd="0" destOrd="0" presId="urn:microsoft.com/office/officeart/2011/layout/CircleProcess"/>
    <dgm:cxn modelId="{AC9169B8-AE9B-4645-A287-4D7A5E8323E0}" type="presParOf" srcId="{362F88A3-603E-4612-8446-13FD52055A2F}" destId="{7BF0AD3E-811A-45E1-8E26-81ABB146C184}" srcOrd="2" destOrd="0" presId="urn:microsoft.com/office/officeart/2011/layout/CircleProcess"/>
    <dgm:cxn modelId="{72D5211A-0132-40FE-8062-29FC7E462903}" type="presParOf" srcId="{362F88A3-603E-4612-8446-13FD52055A2F}" destId="{30B94B7A-C368-40CC-98C5-6A7BA01765EB}" srcOrd="3" destOrd="0" presId="urn:microsoft.com/office/officeart/2011/layout/CircleProcess"/>
    <dgm:cxn modelId="{6C83C47B-7DCB-4223-AAA2-4DF04C47B39E}" type="presParOf" srcId="{30B94B7A-C368-40CC-98C5-6A7BA01765EB}" destId="{43FFC5F6-CF74-44EF-9F07-B7D2F3186D34}" srcOrd="0" destOrd="0" presId="urn:microsoft.com/office/officeart/2011/layout/CircleProcess"/>
    <dgm:cxn modelId="{F10B4F2E-D466-4C1C-9D5C-07B1C0534626}" type="presParOf" srcId="{362F88A3-603E-4612-8446-13FD52055A2F}" destId="{BF99C5EA-59A7-44DF-9CB3-917C41D36BB7}" srcOrd="4" destOrd="0" presId="urn:microsoft.com/office/officeart/2011/layout/CircleProcess"/>
    <dgm:cxn modelId="{DAF6B4AC-9814-46FA-A87A-8F8A28D768ED}" type="presParOf" srcId="{BF99C5EA-59A7-44DF-9CB3-917C41D36BB7}" destId="{9E594069-B8D6-4718-BE17-E17DD4A29607}" srcOrd="0" destOrd="0" presId="urn:microsoft.com/office/officeart/2011/layout/CircleProcess"/>
    <dgm:cxn modelId="{9E3116BC-13BB-4126-BF23-9AE4076484BA}" type="presParOf" srcId="{362F88A3-603E-4612-8446-13FD52055A2F}" destId="{EB5698B4-D078-4DF1-B8EE-95A96DE3C32C}" srcOrd="5" destOrd="0" presId="urn:microsoft.com/office/officeart/2011/layout/CircleProcess"/>
    <dgm:cxn modelId="{6F8CDF76-F998-4A3D-95FF-C90609E0AE89}" type="presParOf" srcId="{362F88A3-603E-4612-8446-13FD52055A2F}" destId="{9BADC801-C878-4D0A-87E1-6A1232FC86E8}" srcOrd="6" destOrd="0" presId="urn:microsoft.com/office/officeart/2011/layout/CircleProcess"/>
    <dgm:cxn modelId="{97B630B6-2B1A-4B75-AD70-D2860304DEB0}" type="presParOf" srcId="{9BADC801-C878-4D0A-87E1-6A1232FC86E8}" destId="{EE81E49E-E3D2-4977-95A7-EB0EC6C3DFFE}" srcOrd="0" destOrd="0" presId="urn:microsoft.com/office/officeart/2011/layout/CircleProcess"/>
    <dgm:cxn modelId="{24553D2A-56CA-46E9-AB73-6252E47B7FC0}" type="presParOf" srcId="{362F88A3-603E-4612-8446-13FD52055A2F}" destId="{A99A30FC-074D-4C9A-8CFB-9968E62BB149}" srcOrd="7" destOrd="0" presId="urn:microsoft.com/office/officeart/2011/layout/CircleProcess"/>
    <dgm:cxn modelId="{4C671A21-C9DA-429A-8B31-3ACC926B06B0}" type="presParOf" srcId="{A99A30FC-074D-4C9A-8CFB-9968E62BB149}" destId="{5A1FA031-07B5-4F83-8F96-79E3480793B6}" srcOrd="0" destOrd="0" presId="urn:microsoft.com/office/officeart/2011/layout/CircleProcess"/>
    <dgm:cxn modelId="{F5EDCF55-D6BA-4D24-A5BB-37498D10C064}" type="presParOf" srcId="{362F88A3-603E-4612-8446-13FD52055A2F}" destId="{24036FB1-8382-4616-9A6A-9F8E9808D945}" srcOrd="8" destOrd="0" presId="urn:microsoft.com/office/officeart/2011/layout/CircleProcess"/>
    <dgm:cxn modelId="{C3EA7AE8-F3A5-4B0F-BDD6-40EBA508BA6F}" type="presParOf" srcId="{362F88A3-603E-4612-8446-13FD52055A2F}" destId="{F2117BD3-F8C6-4F12-A7AB-CEC8B2C0FD56}" srcOrd="9" destOrd="0" presId="urn:microsoft.com/office/officeart/2011/layout/CircleProcess"/>
    <dgm:cxn modelId="{4D496652-9F1F-4498-871B-7B92B2743D8C}" type="presParOf" srcId="{F2117BD3-F8C6-4F12-A7AB-CEC8B2C0FD56}" destId="{8E0BEC49-26B5-452A-AF68-89310487AB8F}" srcOrd="0" destOrd="0" presId="urn:microsoft.com/office/officeart/2011/layout/CircleProcess"/>
    <dgm:cxn modelId="{27AE16E4-6AA7-46D8-81A8-25448546621A}" type="presParOf" srcId="{362F88A3-603E-4612-8446-13FD52055A2F}" destId="{317DC8B2-0E0A-49CC-9886-0807B5B123D0}" srcOrd="10" destOrd="0" presId="urn:microsoft.com/office/officeart/2011/layout/CircleProcess"/>
    <dgm:cxn modelId="{E808F6B9-E1AA-463E-89B6-0152B7E6A819}" type="presParOf" srcId="{317DC8B2-0E0A-49CC-9886-0807B5B123D0}" destId="{94EB7DF9-4CCB-4B78-8D1E-D9032D7553EB}" srcOrd="0" destOrd="0" presId="urn:microsoft.com/office/officeart/2011/layout/CircleProcess"/>
    <dgm:cxn modelId="{92A49BD9-3D70-4700-8250-976BE539DDF7}" type="presParOf" srcId="{362F88A3-603E-4612-8446-13FD52055A2F}" destId="{229D7A12-61FA-4549-B0D6-AA114CAAFF33}" srcOrd="11" destOrd="0" presId="urn:microsoft.com/office/officeart/2011/layout/CircleProcess"/>
    <dgm:cxn modelId="{ED06C7CB-99A1-4078-9470-987D45CE8DF1}" type="presParOf" srcId="{362F88A3-603E-4612-8446-13FD52055A2F}" destId="{C0D2B0DD-9745-404C-AD4E-334EE26160B9}" srcOrd="12" destOrd="0" presId="urn:microsoft.com/office/officeart/2011/layout/CircleProcess"/>
    <dgm:cxn modelId="{CDE120E6-BBE1-44B9-8784-C2E4A97E2A68}" type="presParOf" srcId="{C0D2B0DD-9745-404C-AD4E-334EE26160B9}" destId="{EB7CFF83-359C-4AE6-87BE-FF43DF04D97A}" srcOrd="0" destOrd="0" presId="urn:microsoft.com/office/officeart/2011/layout/CircleProcess"/>
    <dgm:cxn modelId="{F8DC950E-7DF7-42F1-9D77-5522D1192781}" type="presParOf" srcId="{362F88A3-603E-4612-8446-13FD52055A2F}" destId="{2976335C-7B23-462C-88A2-DECD8D91B9A4}" srcOrd="13" destOrd="0" presId="urn:microsoft.com/office/officeart/2011/layout/CircleProcess"/>
    <dgm:cxn modelId="{70BADDF2-AF36-4481-938D-E3BC20EEEECF}" type="presParOf" srcId="{2976335C-7B23-462C-88A2-DECD8D91B9A4}" destId="{B3444074-E43D-490F-8DED-3DD80A9147DF}" srcOrd="0" destOrd="0" presId="urn:microsoft.com/office/officeart/2011/layout/CircleProcess"/>
    <dgm:cxn modelId="{32CB8E81-4941-4185-A16E-C812372A3B2C}" type="presParOf" srcId="{362F88A3-603E-4612-8446-13FD52055A2F}" destId="{6F01B158-335D-4E61-980F-A687F84F58B1}" srcOrd="14"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B4DC6E-76FC-4023-9F3F-C7837E222121}"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en-US"/>
        </a:p>
      </dgm:t>
    </dgm:pt>
    <dgm:pt modelId="{1CDC353D-B435-42DE-A71E-B98BF0951C04}">
      <dgm:prSet phldrT="[Text]"/>
      <dgm:spPr/>
      <dgm:t>
        <a:bodyPr/>
        <a:lstStyle/>
        <a:p>
          <a:r>
            <a:rPr lang="en-US"/>
            <a:t> </a:t>
          </a:r>
        </a:p>
      </dgm:t>
    </dgm:pt>
    <dgm:pt modelId="{B6C73B05-F1A5-4A96-8CAB-C68BBA067AEB}" type="parTrans" cxnId="{53AF6F86-31D1-4311-ABFB-40DC57709119}">
      <dgm:prSet/>
      <dgm:spPr/>
      <dgm:t>
        <a:bodyPr/>
        <a:lstStyle/>
        <a:p>
          <a:endParaRPr lang="en-US"/>
        </a:p>
      </dgm:t>
    </dgm:pt>
    <dgm:pt modelId="{F14154B4-2D41-4EE0-B79B-F2A27114FE2B}" type="sibTrans" cxnId="{53AF6F86-31D1-4311-ABFB-40DC57709119}">
      <dgm:prSet/>
      <dgm:spPr/>
      <dgm:t>
        <a:bodyPr/>
        <a:lstStyle/>
        <a:p>
          <a:endParaRPr lang="en-US"/>
        </a:p>
      </dgm:t>
    </dgm:pt>
    <dgm:pt modelId="{89FBE897-26C0-401F-AB68-A76E16DDB9B0}">
      <dgm:prSet phldrT="[Text]"/>
      <dgm:spPr/>
      <dgm:t>
        <a:bodyPr/>
        <a:lstStyle/>
        <a:p>
          <a:r>
            <a:rPr lang="en-US"/>
            <a:t> </a:t>
          </a:r>
        </a:p>
      </dgm:t>
    </dgm:pt>
    <dgm:pt modelId="{97097A05-3CE3-4704-8470-2176FFEF5137}" type="parTrans" cxnId="{A21B8122-F22A-4964-9F55-7FF532B9D312}">
      <dgm:prSet/>
      <dgm:spPr/>
      <dgm:t>
        <a:bodyPr/>
        <a:lstStyle/>
        <a:p>
          <a:endParaRPr lang="en-US"/>
        </a:p>
      </dgm:t>
    </dgm:pt>
    <dgm:pt modelId="{6026A722-EBE2-48E0-A7A7-0113B2179553}" type="sibTrans" cxnId="{A21B8122-F22A-4964-9F55-7FF532B9D312}">
      <dgm:prSet/>
      <dgm:spPr/>
      <dgm:t>
        <a:bodyPr/>
        <a:lstStyle/>
        <a:p>
          <a:endParaRPr lang="en-US"/>
        </a:p>
      </dgm:t>
    </dgm:pt>
    <dgm:pt modelId="{0D03BFC3-09B0-41AB-94AC-6B9B7FEFC265}">
      <dgm:prSet phldrT="[Text]"/>
      <dgm:spPr>
        <a:solidFill>
          <a:schemeClr val="bg1"/>
        </a:solidFill>
      </dgm:spPr>
      <dgm:t>
        <a:bodyPr/>
        <a:lstStyle/>
        <a:p>
          <a:r>
            <a:rPr lang="en-US"/>
            <a:t> </a:t>
          </a:r>
        </a:p>
      </dgm:t>
    </dgm:pt>
    <dgm:pt modelId="{F678F487-B872-4DD2-A142-2EE7582A0AAA}" type="parTrans" cxnId="{E08EAD3A-D685-428A-A336-D1EFB6396158}">
      <dgm:prSet/>
      <dgm:spPr>
        <a:solidFill>
          <a:schemeClr val="bg1"/>
        </a:solidFill>
      </dgm:spPr>
      <dgm:t>
        <a:bodyPr/>
        <a:lstStyle/>
        <a:p>
          <a:endParaRPr lang="en-US"/>
        </a:p>
      </dgm:t>
    </dgm:pt>
    <dgm:pt modelId="{EE04C22A-79CC-4A6C-9BE8-965F582CD188}" type="sibTrans" cxnId="{E08EAD3A-D685-428A-A336-D1EFB6396158}">
      <dgm:prSet/>
      <dgm:spPr/>
      <dgm:t>
        <a:bodyPr/>
        <a:lstStyle/>
        <a:p>
          <a:endParaRPr lang="en-US"/>
        </a:p>
      </dgm:t>
    </dgm:pt>
    <dgm:pt modelId="{B2F83C15-503C-4290-9050-50A4CC191FEA}">
      <dgm:prSet phldrT="[Text]"/>
      <dgm:spPr/>
      <dgm:t>
        <a:bodyPr/>
        <a:lstStyle/>
        <a:p>
          <a:r>
            <a:rPr lang="en-US"/>
            <a:t> </a:t>
          </a:r>
        </a:p>
      </dgm:t>
    </dgm:pt>
    <dgm:pt modelId="{E262D09E-B4EA-445D-8F4F-60B3CCB67396}" type="parTrans" cxnId="{991F8FF2-C148-4C4A-8CB4-E7D857DF9897}">
      <dgm:prSet/>
      <dgm:spPr/>
      <dgm:t>
        <a:bodyPr/>
        <a:lstStyle/>
        <a:p>
          <a:endParaRPr lang="en-US"/>
        </a:p>
      </dgm:t>
    </dgm:pt>
    <dgm:pt modelId="{BF132B1B-8E8D-40E2-85C7-9413111D44D6}" type="sibTrans" cxnId="{991F8FF2-C148-4C4A-8CB4-E7D857DF9897}">
      <dgm:prSet/>
      <dgm:spPr/>
      <dgm:t>
        <a:bodyPr/>
        <a:lstStyle/>
        <a:p>
          <a:endParaRPr lang="en-US"/>
        </a:p>
      </dgm:t>
    </dgm:pt>
    <dgm:pt modelId="{47747DDD-512E-473E-8D84-EEB5AA910DE3}">
      <dgm:prSet phldrT="[Text]"/>
      <dgm:spPr>
        <a:solidFill>
          <a:schemeClr val="bg1"/>
        </a:solidFill>
      </dgm:spPr>
      <dgm:t>
        <a:bodyPr/>
        <a:lstStyle/>
        <a:p>
          <a:endParaRPr lang="en-US"/>
        </a:p>
      </dgm:t>
    </dgm:pt>
    <dgm:pt modelId="{89457F93-631E-4CD6-A4F2-8D39B537ABEC}" type="sibTrans" cxnId="{67483228-2AB7-41CE-959C-A60D9BF0B154}">
      <dgm:prSet/>
      <dgm:spPr/>
      <dgm:t>
        <a:bodyPr/>
        <a:lstStyle/>
        <a:p>
          <a:endParaRPr lang="en-US"/>
        </a:p>
      </dgm:t>
    </dgm:pt>
    <dgm:pt modelId="{762BCAED-B625-4ABA-8AA7-021611608FA4}" type="parTrans" cxnId="{67483228-2AB7-41CE-959C-A60D9BF0B154}">
      <dgm:prSet/>
      <dgm:spPr>
        <a:solidFill>
          <a:schemeClr val="bg1"/>
        </a:solidFill>
      </dgm:spPr>
      <dgm:t>
        <a:bodyPr/>
        <a:lstStyle/>
        <a:p>
          <a:endParaRPr lang="en-US"/>
        </a:p>
      </dgm:t>
    </dgm:pt>
    <dgm:pt modelId="{3CF55155-A2E9-4103-9237-318D5D054D38}" type="pres">
      <dgm:prSet presAssocID="{04B4DC6E-76FC-4023-9F3F-C7837E222121}" presName="Name0" presStyleCnt="0">
        <dgm:presLayoutVars>
          <dgm:chMax val="1"/>
          <dgm:dir/>
          <dgm:animLvl val="ctr"/>
          <dgm:resizeHandles val="exact"/>
        </dgm:presLayoutVars>
      </dgm:prSet>
      <dgm:spPr/>
    </dgm:pt>
    <dgm:pt modelId="{CF806946-58FC-4B62-B39C-1D27974BC564}" type="pres">
      <dgm:prSet presAssocID="{1CDC353D-B435-42DE-A71E-B98BF0951C04}" presName="centerShape" presStyleLbl="node0" presStyleIdx="0" presStyleCnt="1"/>
      <dgm:spPr/>
    </dgm:pt>
    <dgm:pt modelId="{302FE154-82DD-4F51-B5DD-101A64B807AC}" type="pres">
      <dgm:prSet presAssocID="{762BCAED-B625-4ABA-8AA7-021611608FA4}" presName="parTrans" presStyleLbl="sibTrans2D1" presStyleIdx="0" presStyleCnt="4"/>
      <dgm:spPr/>
    </dgm:pt>
    <dgm:pt modelId="{71230B1B-777E-4A71-834B-300CB7095BFD}" type="pres">
      <dgm:prSet presAssocID="{762BCAED-B625-4ABA-8AA7-021611608FA4}" presName="connectorText" presStyleLbl="sibTrans2D1" presStyleIdx="0" presStyleCnt="4"/>
      <dgm:spPr/>
    </dgm:pt>
    <dgm:pt modelId="{8AB27431-06AC-45F0-91DD-9900AE174A5F}" type="pres">
      <dgm:prSet presAssocID="{47747DDD-512E-473E-8D84-EEB5AA910DE3}" presName="node" presStyleLbl="node1" presStyleIdx="0" presStyleCnt="4">
        <dgm:presLayoutVars>
          <dgm:bulletEnabled val="1"/>
        </dgm:presLayoutVars>
      </dgm:prSet>
      <dgm:spPr/>
    </dgm:pt>
    <dgm:pt modelId="{FA865888-C02D-4DE0-8EDB-A265C294DD0A}" type="pres">
      <dgm:prSet presAssocID="{97097A05-3CE3-4704-8470-2176FFEF5137}" presName="parTrans" presStyleLbl="sibTrans2D1" presStyleIdx="1" presStyleCnt="4"/>
      <dgm:spPr/>
    </dgm:pt>
    <dgm:pt modelId="{25350CE8-71B9-473A-BF61-9CA764E1E920}" type="pres">
      <dgm:prSet presAssocID="{97097A05-3CE3-4704-8470-2176FFEF5137}" presName="connectorText" presStyleLbl="sibTrans2D1" presStyleIdx="1" presStyleCnt="4"/>
      <dgm:spPr/>
    </dgm:pt>
    <dgm:pt modelId="{79614712-E3E8-47D9-B693-8F170F9185EF}" type="pres">
      <dgm:prSet presAssocID="{89FBE897-26C0-401F-AB68-A76E16DDB9B0}" presName="node" presStyleLbl="node1" presStyleIdx="1" presStyleCnt="4">
        <dgm:presLayoutVars>
          <dgm:bulletEnabled val="1"/>
        </dgm:presLayoutVars>
      </dgm:prSet>
      <dgm:spPr/>
    </dgm:pt>
    <dgm:pt modelId="{9D2A478D-1706-4838-B3AE-E711E8BC53BA}" type="pres">
      <dgm:prSet presAssocID="{F678F487-B872-4DD2-A142-2EE7582A0AAA}" presName="parTrans" presStyleLbl="sibTrans2D1" presStyleIdx="2" presStyleCnt="4"/>
      <dgm:spPr/>
    </dgm:pt>
    <dgm:pt modelId="{B14A6B60-71E9-402C-AE08-6149DDEEC96F}" type="pres">
      <dgm:prSet presAssocID="{F678F487-B872-4DD2-A142-2EE7582A0AAA}" presName="connectorText" presStyleLbl="sibTrans2D1" presStyleIdx="2" presStyleCnt="4"/>
      <dgm:spPr/>
    </dgm:pt>
    <dgm:pt modelId="{4D6C522E-00FD-4A20-9791-B92A492ADB36}" type="pres">
      <dgm:prSet presAssocID="{0D03BFC3-09B0-41AB-94AC-6B9B7FEFC265}" presName="node" presStyleLbl="node1" presStyleIdx="2" presStyleCnt="4">
        <dgm:presLayoutVars>
          <dgm:bulletEnabled val="1"/>
        </dgm:presLayoutVars>
      </dgm:prSet>
      <dgm:spPr/>
    </dgm:pt>
    <dgm:pt modelId="{475CBC91-8CF3-472F-9BCA-A12B8E156B06}" type="pres">
      <dgm:prSet presAssocID="{E262D09E-B4EA-445D-8F4F-60B3CCB67396}" presName="parTrans" presStyleLbl="sibTrans2D1" presStyleIdx="3" presStyleCnt="4"/>
      <dgm:spPr/>
    </dgm:pt>
    <dgm:pt modelId="{1BDAC41C-CD55-430D-BF6C-925777A72C4A}" type="pres">
      <dgm:prSet presAssocID="{E262D09E-B4EA-445D-8F4F-60B3CCB67396}" presName="connectorText" presStyleLbl="sibTrans2D1" presStyleIdx="3" presStyleCnt="4"/>
      <dgm:spPr/>
    </dgm:pt>
    <dgm:pt modelId="{DF870EDB-CB2F-4198-B717-85DA4667C868}" type="pres">
      <dgm:prSet presAssocID="{B2F83C15-503C-4290-9050-50A4CC191FEA}" presName="node" presStyleLbl="node1" presStyleIdx="3" presStyleCnt="4">
        <dgm:presLayoutVars>
          <dgm:bulletEnabled val="1"/>
        </dgm:presLayoutVars>
      </dgm:prSet>
      <dgm:spPr/>
    </dgm:pt>
  </dgm:ptLst>
  <dgm:cxnLst>
    <dgm:cxn modelId="{6F2B8303-657B-41C8-B0A9-467BD5B393EA}" type="presOf" srcId="{E262D09E-B4EA-445D-8F4F-60B3CCB67396}" destId="{1BDAC41C-CD55-430D-BF6C-925777A72C4A}" srcOrd="1" destOrd="0" presId="urn:microsoft.com/office/officeart/2005/8/layout/radial5"/>
    <dgm:cxn modelId="{A21B8122-F22A-4964-9F55-7FF532B9D312}" srcId="{1CDC353D-B435-42DE-A71E-B98BF0951C04}" destId="{89FBE897-26C0-401F-AB68-A76E16DDB9B0}" srcOrd="1" destOrd="0" parTransId="{97097A05-3CE3-4704-8470-2176FFEF5137}" sibTransId="{6026A722-EBE2-48E0-A7A7-0113B2179553}"/>
    <dgm:cxn modelId="{67483228-2AB7-41CE-959C-A60D9BF0B154}" srcId="{1CDC353D-B435-42DE-A71E-B98BF0951C04}" destId="{47747DDD-512E-473E-8D84-EEB5AA910DE3}" srcOrd="0" destOrd="0" parTransId="{762BCAED-B625-4ABA-8AA7-021611608FA4}" sibTransId="{89457F93-631E-4CD6-A4F2-8D39B537ABEC}"/>
    <dgm:cxn modelId="{E08EAD3A-D685-428A-A336-D1EFB6396158}" srcId="{1CDC353D-B435-42DE-A71E-B98BF0951C04}" destId="{0D03BFC3-09B0-41AB-94AC-6B9B7FEFC265}" srcOrd="2" destOrd="0" parTransId="{F678F487-B872-4DD2-A142-2EE7582A0AAA}" sibTransId="{EE04C22A-79CC-4A6C-9BE8-965F582CD188}"/>
    <dgm:cxn modelId="{D691956C-C5A0-4C4C-8457-97BC80F1CF40}" type="presOf" srcId="{762BCAED-B625-4ABA-8AA7-021611608FA4}" destId="{302FE154-82DD-4F51-B5DD-101A64B807AC}" srcOrd="0" destOrd="0" presId="urn:microsoft.com/office/officeart/2005/8/layout/radial5"/>
    <dgm:cxn modelId="{6295316E-752E-48EB-BCB9-F6AEFC7BA5F2}" type="presOf" srcId="{89FBE897-26C0-401F-AB68-A76E16DDB9B0}" destId="{79614712-E3E8-47D9-B693-8F170F9185EF}" srcOrd="0" destOrd="0" presId="urn:microsoft.com/office/officeart/2005/8/layout/radial5"/>
    <dgm:cxn modelId="{AF64A34E-D713-47BF-82A4-4E853E85496A}" type="presOf" srcId="{F678F487-B872-4DD2-A142-2EE7582A0AAA}" destId="{B14A6B60-71E9-402C-AE08-6149DDEEC96F}" srcOrd="1" destOrd="0" presId="urn:microsoft.com/office/officeart/2005/8/layout/radial5"/>
    <dgm:cxn modelId="{53AF6F86-31D1-4311-ABFB-40DC57709119}" srcId="{04B4DC6E-76FC-4023-9F3F-C7837E222121}" destId="{1CDC353D-B435-42DE-A71E-B98BF0951C04}" srcOrd="0" destOrd="0" parTransId="{B6C73B05-F1A5-4A96-8CAB-C68BBA067AEB}" sibTransId="{F14154B4-2D41-4EE0-B79B-F2A27114FE2B}"/>
    <dgm:cxn modelId="{BAE105A6-8BFB-4554-A710-10AECEB39160}" type="presOf" srcId="{B2F83C15-503C-4290-9050-50A4CC191FEA}" destId="{DF870EDB-CB2F-4198-B717-85DA4667C868}" srcOrd="0" destOrd="0" presId="urn:microsoft.com/office/officeart/2005/8/layout/radial5"/>
    <dgm:cxn modelId="{43CC5EBB-1E43-4936-835B-3717D3B576A7}" type="presOf" srcId="{1CDC353D-B435-42DE-A71E-B98BF0951C04}" destId="{CF806946-58FC-4B62-B39C-1D27974BC564}" srcOrd="0" destOrd="0" presId="urn:microsoft.com/office/officeart/2005/8/layout/radial5"/>
    <dgm:cxn modelId="{323A69D7-834A-482E-BB9E-9E452C70F140}" type="presOf" srcId="{97097A05-3CE3-4704-8470-2176FFEF5137}" destId="{25350CE8-71B9-473A-BF61-9CA764E1E920}" srcOrd="1" destOrd="0" presId="urn:microsoft.com/office/officeart/2005/8/layout/radial5"/>
    <dgm:cxn modelId="{2D9C3EDE-5FA2-4093-897F-4B586E05A10F}" type="presOf" srcId="{762BCAED-B625-4ABA-8AA7-021611608FA4}" destId="{71230B1B-777E-4A71-834B-300CB7095BFD}" srcOrd="1" destOrd="0" presId="urn:microsoft.com/office/officeart/2005/8/layout/radial5"/>
    <dgm:cxn modelId="{07CCEADF-A768-466F-9443-CCC3BBF18B9A}" type="presOf" srcId="{04B4DC6E-76FC-4023-9F3F-C7837E222121}" destId="{3CF55155-A2E9-4103-9237-318D5D054D38}" srcOrd="0" destOrd="0" presId="urn:microsoft.com/office/officeart/2005/8/layout/radial5"/>
    <dgm:cxn modelId="{FA7F03E3-2A27-4FD1-84AF-1B661EDBF56E}" type="presOf" srcId="{97097A05-3CE3-4704-8470-2176FFEF5137}" destId="{FA865888-C02D-4DE0-8EDB-A265C294DD0A}" srcOrd="0" destOrd="0" presId="urn:microsoft.com/office/officeart/2005/8/layout/radial5"/>
    <dgm:cxn modelId="{848F30E9-B15E-4350-A3C7-D6D5804713B9}" type="presOf" srcId="{E262D09E-B4EA-445D-8F4F-60B3CCB67396}" destId="{475CBC91-8CF3-472F-9BCA-A12B8E156B06}" srcOrd="0" destOrd="0" presId="urn:microsoft.com/office/officeart/2005/8/layout/radial5"/>
    <dgm:cxn modelId="{991F8FF2-C148-4C4A-8CB4-E7D857DF9897}" srcId="{1CDC353D-B435-42DE-A71E-B98BF0951C04}" destId="{B2F83C15-503C-4290-9050-50A4CC191FEA}" srcOrd="3" destOrd="0" parTransId="{E262D09E-B4EA-445D-8F4F-60B3CCB67396}" sibTransId="{BF132B1B-8E8D-40E2-85C7-9413111D44D6}"/>
    <dgm:cxn modelId="{B1218FF3-50EF-425B-A4CB-E0A699819E0D}" type="presOf" srcId="{47747DDD-512E-473E-8D84-EEB5AA910DE3}" destId="{8AB27431-06AC-45F0-91DD-9900AE174A5F}" srcOrd="0" destOrd="0" presId="urn:microsoft.com/office/officeart/2005/8/layout/radial5"/>
    <dgm:cxn modelId="{0C6CE5F7-351F-4524-8AA2-ABF38EB13706}" type="presOf" srcId="{0D03BFC3-09B0-41AB-94AC-6B9B7FEFC265}" destId="{4D6C522E-00FD-4A20-9791-B92A492ADB36}" srcOrd="0" destOrd="0" presId="urn:microsoft.com/office/officeart/2005/8/layout/radial5"/>
    <dgm:cxn modelId="{E5CFC0F9-9E86-44C9-88B1-8CFE5C9BF9AC}" type="presOf" srcId="{F678F487-B872-4DD2-A142-2EE7582A0AAA}" destId="{9D2A478D-1706-4838-B3AE-E711E8BC53BA}" srcOrd="0" destOrd="0" presId="urn:microsoft.com/office/officeart/2005/8/layout/radial5"/>
    <dgm:cxn modelId="{08FABC96-1C4D-414E-98C5-9FB931818035}" type="presParOf" srcId="{3CF55155-A2E9-4103-9237-318D5D054D38}" destId="{CF806946-58FC-4B62-B39C-1D27974BC564}" srcOrd="0" destOrd="0" presId="urn:microsoft.com/office/officeart/2005/8/layout/radial5"/>
    <dgm:cxn modelId="{4C9A81C2-D15C-4609-B91C-D5DED9B486E3}" type="presParOf" srcId="{3CF55155-A2E9-4103-9237-318D5D054D38}" destId="{302FE154-82DD-4F51-B5DD-101A64B807AC}" srcOrd="1" destOrd="0" presId="urn:microsoft.com/office/officeart/2005/8/layout/radial5"/>
    <dgm:cxn modelId="{7C31A73B-C59C-4A83-ABA4-79B7EFC5A336}" type="presParOf" srcId="{302FE154-82DD-4F51-B5DD-101A64B807AC}" destId="{71230B1B-777E-4A71-834B-300CB7095BFD}" srcOrd="0" destOrd="0" presId="urn:microsoft.com/office/officeart/2005/8/layout/radial5"/>
    <dgm:cxn modelId="{1E403A60-125F-4307-AC7A-EAB5E9BBDA6E}" type="presParOf" srcId="{3CF55155-A2E9-4103-9237-318D5D054D38}" destId="{8AB27431-06AC-45F0-91DD-9900AE174A5F}" srcOrd="2" destOrd="0" presId="urn:microsoft.com/office/officeart/2005/8/layout/radial5"/>
    <dgm:cxn modelId="{C28EF11D-B019-46EF-8BF4-E1B666F3320F}" type="presParOf" srcId="{3CF55155-A2E9-4103-9237-318D5D054D38}" destId="{FA865888-C02D-4DE0-8EDB-A265C294DD0A}" srcOrd="3" destOrd="0" presId="urn:microsoft.com/office/officeart/2005/8/layout/radial5"/>
    <dgm:cxn modelId="{869C9667-A825-4D9D-96B2-304B2F493139}" type="presParOf" srcId="{FA865888-C02D-4DE0-8EDB-A265C294DD0A}" destId="{25350CE8-71B9-473A-BF61-9CA764E1E920}" srcOrd="0" destOrd="0" presId="urn:microsoft.com/office/officeart/2005/8/layout/radial5"/>
    <dgm:cxn modelId="{8C98A0A2-F361-4AE4-A970-12B9F724E427}" type="presParOf" srcId="{3CF55155-A2E9-4103-9237-318D5D054D38}" destId="{79614712-E3E8-47D9-B693-8F170F9185EF}" srcOrd="4" destOrd="0" presId="urn:microsoft.com/office/officeart/2005/8/layout/radial5"/>
    <dgm:cxn modelId="{1569DD0B-F4EF-4D0A-B050-EF144E6E3F8E}" type="presParOf" srcId="{3CF55155-A2E9-4103-9237-318D5D054D38}" destId="{9D2A478D-1706-4838-B3AE-E711E8BC53BA}" srcOrd="5" destOrd="0" presId="urn:microsoft.com/office/officeart/2005/8/layout/radial5"/>
    <dgm:cxn modelId="{A41FEB95-8720-40FD-BFFE-6AC4C7E6CD47}" type="presParOf" srcId="{9D2A478D-1706-4838-B3AE-E711E8BC53BA}" destId="{B14A6B60-71E9-402C-AE08-6149DDEEC96F}" srcOrd="0" destOrd="0" presId="urn:microsoft.com/office/officeart/2005/8/layout/radial5"/>
    <dgm:cxn modelId="{586D4B9B-004D-4674-BE32-D856FA3C3FF5}" type="presParOf" srcId="{3CF55155-A2E9-4103-9237-318D5D054D38}" destId="{4D6C522E-00FD-4A20-9791-B92A492ADB36}" srcOrd="6" destOrd="0" presId="urn:microsoft.com/office/officeart/2005/8/layout/radial5"/>
    <dgm:cxn modelId="{F0BC911D-8152-442D-A269-DCA2F4D20C40}" type="presParOf" srcId="{3CF55155-A2E9-4103-9237-318D5D054D38}" destId="{475CBC91-8CF3-472F-9BCA-A12B8E156B06}" srcOrd="7" destOrd="0" presId="urn:microsoft.com/office/officeart/2005/8/layout/radial5"/>
    <dgm:cxn modelId="{AFB8BF69-7DC1-47AF-8C51-3565CD40AA1E}" type="presParOf" srcId="{475CBC91-8CF3-472F-9BCA-A12B8E156B06}" destId="{1BDAC41C-CD55-430D-BF6C-925777A72C4A}" srcOrd="0" destOrd="0" presId="urn:microsoft.com/office/officeart/2005/8/layout/radial5"/>
    <dgm:cxn modelId="{79D3EF79-BAD8-4B90-B951-11DACDE24F43}" type="presParOf" srcId="{3CF55155-A2E9-4103-9237-318D5D054D38}" destId="{DF870EDB-CB2F-4198-B717-85DA4667C868}" srcOrd="8"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D714D9-F587-4EB8-B2D4-7AEC242595AF}">
      <dsp:nvSpPr>
        <dsp:cNvPr id="0" name=""/>
        <dsp:cNvSpPr/>
      </dsp:nvSpPr>
      <dsp:spPr>
        <a:xfrm>
          <a:off x="478245" y="1656966"/>
          <a:ext cx="772822" cy="7728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A03EF87-472D-465A-AB78-689376A2F2F2}">
      <dsp:nvSpPr>
        <dsp:cNvPr id="0" name=""/>
        <dsp:cNvSpPr/>
      </dsp:nvSpPr>
      <dsp:spPr>
        <a:xfrm>
          <a:off x="5965" y="2734493"/>
          <a:ext cx="1717382" cy="686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solidFill>
                <a:schemeClr val="bg1"/>
              </a:solidFill>
            </a:rPr>
            <a:t>Time is precious</a:t>
          </a:r>
        </a:p>
      </dsp:txBody>
      <dsp:txXfrm>
        <a:off x="5965" y="2734493"/>
        <a:ext cx="1717382" cy="686953"/>
      </dsp:txXfrm>
    </dsp:sp>
    <dsp:sp modelId="{F1706A4C-7373-4261-ACB3-E8CFFE5FC413}">
      <dsp:nvSpPr>
        <dsp:cNvPr id="0" name=""/>
        <dsp:cNvSpPr/>
      </dsp:nvSpPr>
      <dsp:spPr>
        <a:xfrm>
          <a:off x="2496170" y="1656966"/>
          <a:ext cx="772822" cy="77282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DDAB2BF-B204-4A00-9949-8CD0B374CE91}">
      <dsp:nvSpPr>
        <dsp:cNvPr id="0" name=""/>
        <dsp:cNvSpPr/>
      </dsp:nvSpPr>
      <dsp:spPr>
        <a:xfrm>
          <a:off x="2023889" y="2734493"/>
          <a:ext cx="1717382" cy="686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Wasted on repetitive tasks</a:t>
          </a:r>
        </a:p>
      </dsp:txBody>
      <dsp:txXfrm>
        <a:off x="2023889" y="2734493"/>
        <a:ext cx="1717382" cy="686953"/>
      </dsp:txXfrm>
    </dsp:sp>
    <dsp:sp modelId="{DF8B8908-9E67-458D-A623-E2CE43DD6F54}">
      <dsp:nvSpPr>
        <dsp:cNvPr id="0" name=""/>
        <dsp:cNvSpPr/>
      </dsp:nvSpPr>
      <dsp:spPr>
        <a:xfrm>
          <a:off x="4514094" y="1656966"/>
          <a:ext cx="772822" cy="77282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48C227-C148-428C-8859-9F0BFC5E1269}">
      <dsp:nvSpPr>
        <dsp:cNvPr id="0" name=""/>
        <dsp:cNvSpPr/>
      </dsp:nvSpPr>
      <dsp:spPr>
        <a:xfrm>
          <a:off x="4041814" y="2734493"/>
          <a:ext cx="1717382" cy="686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solidFill>
                <a:schemeClr val="bg1"/>
              </a:solidFill>
            </a:rPr>
            <a:t>Less time for innovation</a:t>
          </a:r>
        </a:p>
      </dsp:txBody>
      <dsp:txXfrm>
        <a:off x="4041814" y="2734493"/>
        <a:ext cx="1717382" cy="686953"/>
      </dsp:txXfrm>
    </dsp:sp>
    <dsp:sp modelId="{465FD3B9-D3C3-418D-BD35-9057E3B0A53B}">
      <dsp:nvSpPr>
        <dsp:cNvPr id="0" name=""/>
        <dsp:cNvSpPr/>
      </dsp:nvSpPr>
      <dsp:spPr>
        <a:xfrm>
          <a:off x="6532019" y="1656966"/>
          <a:ext cx="772822" cy="772822"/>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54C65FC-FB95-4E1E-B6DD-B842202B6FCF}">
      <dsp:nvSpPr>
        <dsp:cNvPr id="0" name=""/>
        <dsp:cNvSpPr/>
      </dsp:nvSpPr>
      <dsp:spPr>
        <a:xfrm>
          <a:off x="6059739" y="2734493"/>
          <a:ext cx="1717382" cy="686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solidFill>
                <a:schemeClr val="bg1"/>
              </a:solidFill>
            </a:rPr>
            <a:t>Same task over and over</a:t>
          </a:r>
          <a:endParaRPr lang="nl-NL" sz="1600" kern="1200">
            <a:solidFill>
              <a:schemeClr val="bg1"/>
            </a:solidFill>
          </a:endParaRPr>
        </a:p>
      </dsp:txBody>
      <dsp:txXfrm>
        <a:off x="6059739" y="2734493"/>
        <a:ext cx="1717382" cy="686953"/>
      </dsp:txXfrm>
    </dsp:sp>
    <dsp:sp modelId="{BF480428-F562-4BCF-983A-9C04EAF747AA}">
      <dsp:nvSpPr>
        <dsp:cNvPr id="0" name=""/>
        <dsp:cNvSpPr/>
      </dsp:nvSpPr>
      <dsp:spPr>
        <a:xfrm>
          <a:off x="8549944" y="1656966"/>
          <a:ext cx="772822" cy="77282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E65AFBF-5893-4C8F-A8DC-A01D3391079C}">
      <dsp:nvSpPr>
        <dsp:cNvPr id="0" name=""/>
        <dsp:cNvSpPr/>
      </dsp:nvSpPr>
      <dsp:spPr>
        <a:xfrm>
          <a:off x="8077664" y="2734493"/>
          <a:ext cx="1717382" cy="686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solidFill>
                <a:schemeClr val="bg1"/>
              </a:solidFill>
            </a:rPr>
            <a:t>Risk for human error</a:t>
          </a:r>
          <a:endParaRPr lang="nl-NL" sz="1600" kern="1200">
            <a:solidFill>
              <a:schemeClr val="bg1"/>
            </a:solidFill>
          </a:endParaRPr>
        </a:p>
      </dsp:txBody>
      <dsp:txXfrm>
        <a:off x="8077664" y="2734493"/>
        <a:ext cx="1717382" cy="686953"/>
      </dsp:txXfrm>
    </dsp:sp>
    <dsp:sp modelId="{C0BE0070-13D0-42FA-8DAD-8CE33BDEA459}">
      <dsp:nvSpPr>
        <dsp:cNvPr id="0" name=""/>
        <dsp:cNvSpPr/>
      </dsp:nvSpPr>
      <dsp:spPr>
        <a:xfrm>
          <a:off x="10567869" y="1656966"/>
          <a:ext cx="772822" cy="77282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A9D54E1-F42D-4168-A5D8-0B1ED291D4D7}">
      <dsp:nvSpPr>
        <dsp:cNvPr id="0" name=""/>
        <dsp:cNvSpPr/>
      </dsp:nvSpPr>
      <dsp:spPr>
        <a:xfrm>
          <a:off x="10095589" y="2734493"/>
          <a:ext cx="1717382" cy="686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solidFill>
                <a:schemeClr val="bg1"/>
              </a:solidFill>
            </a:rPr>
            <a:t>Hard to maintain security and governance</a:t>
          </a:r>
          <a:endParaRPr lang="nl-NL" sz="1600" kern="1200">
            <a:solidFill>
              <a:schemeClr val="bg1"/>
            </a:solidFill>
          </a:endParaRPr>
        </a:p>
      </dsp:txBody>
      <dsp:txXfrm>
        <a:off x="10095589" y="2734493"/>
        <a:ext cx="1717382" cy="6869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76E8C-7E7D-47B0-8F11-676B5BB6D2EA}">
      <dsp:nvSpPr>
        <dsp:cNvPr id="0" name=""/>
        <dsp:cNvSpPr/>
      </dsp:nvSpPr>
      <dsp:spPr>
        <a:xfrm>
          <a:off x="9153640" y="701981"/>
          <a:ext cx="1859571" cy="1859876"/>
        </a:xfrm>
        <a:prstGeom prst="ellipse">
          <a:avLst/>
        </a:prstGeom>
        <a:solidFill>
          <a:srgbClr val="7FC2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C3F3FF-56C8-4AF8-AE7B-69804C910E0D}">
      <dsp:nvSpPr>
        <dsp:cNvPr id="0" name=""/>
        <dsp:cNvSpPr/>
      </dsp:nvSpPr>
      <dsp:spPr>
        <a:xfrm>
          <a:off x="9214999" y="763988"/>
          <a:ext cx="1735864" cy="1735862"/>
        </a:xfrm>
        <a:prstGeom prst="ellipse">
          <a:avLst/>
        </a:prstGeom>
        <a:solidFill>
          <a:schemeClr val="lt1">
            <a:alpha val="90000"/>
            <a:hueOff val="0"/>
            <a:satOff val="0"/>
            <a:lumOff val="0"/>
            <a:alphaOff val="0"/>
          </a:schemeClr>
        </a:solidFill>
        <a:ln w="12700" cap="flat" cmpd="sng" algn="ctr">
          <a:solidFill>
            <a:srgbClr val="7FC25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Maintenance</a:t>
          </a:r>
        </a:p>
      </dsp:txBody>
      <dsp:txXfrm>
        <a:off x="9463404" y="1012015"/>
        <a:ext cx="1240044" cy="1239808"/>
      </dsp:txXfrm>
    </dsp:sp>
    <dsp:sp modelId="{43FFC5F6-CF74-44EF-9F07-B7D2F3186D34}">
      <dsp:nvSpPr>
        <dsp:cNvPr id="0" name=""/>
        <dsp:cNvSpPr/>
      </dsp:nvSpPr>
      <dsp:spPr>
        <a:xfrm rot="2700000">
          <a:off x="7230838" y="702078"/>
          <a:ext cx="1859356" cy="1859356"/>
        </a:xfrm>
        <a:prstGeom prst="teardrop">
          <a:avLst>
            <a:gd name="adj" fmla="val 100000"/>
          </a:avLst>
        </a:prstGeom>
        <a:solidFill>
          <a:srgbClr val="7FC2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594069-B8D6-4718-BE17-E17DD4A29607}">
      <dsp:nvSpPr>
        <dsp:cNvPr id="0" name=""/>
        <dsp:cNvSpPr/>
      </dsp:nvSpPr>
      <dsp:spPr>
        <a:xfrm>
          <a:off x="7294068" y="763988"/>
          <a:ext cx="1735864" cy="1735862"/>
        </a:xfrm>
        <a:prstGeom prst="ellipse">
          <a:avLst/>
        </a:prstGeom>
        <a:solidFill>
          <a:schemeClr val="lt1">
            <a:alpha val="90000"/>
            <a:hueOff val="0"/>
            <a:satOff val="0"/>
            <a:lumOff val="0"/>
            <a:alphaOff val="0"/>
          </a:schemeClr>
        </a:solidFill>
        <a:ln w="12700" cap="flat" cmpd="sng" algn="ctr">
          <a:solidFill>
            <a:srgbClr val="7FC25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ata</a:t>
          </a:r>
        </a:p>
      </dsp:txBody>
      <dsp:txXfrm>
        <a:off x="7541484" y="1012015"/>
        <a:ext cx="1240044" cy="1239808"/>
      </dsp:txXfrm>
    </dsp:sp>
    <dsp:sp modelId="{EE81E49E-E3D2-4977-95A7-EB0EC6C3DFFE}">
      <dsp:nvSpPr>
        <dsp:cNvPr id="0" name=""/>
        <dsp:cNvSpPr/>
      </dsp:nvSpPr>
      <dsp:spPr>
        <a:xfrm rot="2700000">
          <a:off x="5309907" y="702078"/>
          <a:ext cx="1859356" cy="1859356"/>
        </a:xfrm>
        <a:prstGeom prst="teardrop">
          <a:avLst>
            <a:gd name="adj" fmla="val 100000"/>
          </a:avLst>
        </a:prstGeom>
        <a:solidFill>
          <a:srgbClr val="7FC2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1FA031-07B5-4F83-8F96-79E3480793B6}">
      <dsp:nvSpPr>
        <dsp:cNvPr id="0" name=""/>
        <dsp:cNvSpPr/>
      </dsp:nvSpPr>
      <dsp:spPr>
        <a:xfrm>
          <a:off x="5372148" y="763988"/>
          <a:ext cx="1735864" cy="1735862"/>
        </a:xfrm>
        <a:prstGeom prst="ellipse">
          <a:avLst/>
        </a:prstGeom>
        <a:solidFill>
          <a:schemeClr val="lt1">
            <a:alpha val="90000"/>
            <a:hueOff val="0"/>
            <a:satOff val="0"/>
            <a:lumOff val="0"/>
            <a:alphaOff val="0"/>
          </a:schemeClr>
        </a:solidFill>
        <a:ln w="12700" cap="flat" cmpd="sng" algn="ctr">
          <a:solidFill>
            <a:srgbClr val="7FC25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ice</a:t>
          </a:r>
        </a:p>
      </dsp:txBody>
      <dsp:txXfrm>
        <a:off x="5619563" y="1012015"/>
        <a:ext cx="1240044" cy="1239808"/>
      </dsp:txXfrm>
    </dsp:sp>
    <dsp:sp modelId="{8E0BEC49-26B5-452A-AF68-89310487AB8F}">
      <dsp:nvSpPr>
        <dsp:cNvPr id="0" name=""/>
        <dsp:cNvSpPr/>
      </dsp:nvSpPr>
      <dsp:spPr>
        <a:xfrm rot="2700000">
          <a:off x="3387987" y="702078"/>
          <a:ext cx="1859356" cy="1859356"/>
        </a:xfrm>
        <a:prstGeom prst="teardrop">
          <a:avLst>
            <a:gd name="adj" fmla="val 100000"/>
          </a:avLst>
        </a:prstGeom>
        <a:solidFill>
          <a:srgbClr val="7FC2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B7DF9-4CCB-4B78-8D1E-D9032D7553EB}">
      <dsp:nvSpPr>
        <dsp:cNvPr id="0" name=""/>
        <dsp:cNvSpPr/>
      </dsp:nvSpPr>
      <dsp:spPr>
        <a:xfrm>
          <a:off x="3450228" y="763988"/>
          <a:ext cx="1735864" cy="1735862"/>
        </a:xfrm>
        <a:prstGeom prst="ellipse">
          <a:avLst/>
        </a:prstGeom>
        <a:solidFill>
          <a:schemeClr val="lt1">
            <a:alpha val="90000"/>
            <a:hueOff val="0"/>
            <a:satOff val="0"/>
            <a:lumOff val="0"/>
            <a:alphaOff val="0"/>
          </a:schemeClr>
        </a:solidFill>
        <a:ln w="12700" cap="flat" cmpd="sng" algn="ctr">
          <a:solidFill>
            <a:srgbClr val="7FC25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Resources</a:t>
          </a:r>
        </a:p>
      </dsp:txBody>
      <dsp:txXfrm>
        <a:off x="3698633" y="1012015"/>
        <a:ext cx="1240044" cy="1239808"/>
      </dsp:txXfrm>
    </dsp:sp>
    <dsp:sp modelId="{EB7CFF83-359C-4AE6-87BE-FF43DF04D97A}">
      <dsp:nvSpPr>
        <dsp:cNvPr id="0" name=""/>
        <dsp:cNvSpPr/>
      </dsp:nvSpPr>
      <dsp:spPr>
        <a:xfrm rot="2700000">
          <a:off x="1466066" y="702078"/>
          <a:ext cx="1859356" cy="1859356"/>
        </a:xfrm>
        <a:prstGeom prst="teardrop">
          <a:avLst>
            <a:gd name="adj" fmla="val 100000"/>
          </a:avLst>
        </a:prstGeom>
        <a:solidFill>
          <a:srgbClr val="7FC2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4074-E43D-490F-8DED-3DD80A9147DF}">
      <dsp:nvSpPr>
        <dsp:cNvPr id="0" name=""/>
        <dsp:cNvSpPr/>
      </dsp:nvSpPr>
      <dsp:spPr>
        <a:xfrm>
          <a:off x="1528307" y="763988"/>
          <a:ext cx="1735864" cy="1735862"/>
        </a:xfrm>
        <a:prstGeom prst="ellipse">
          <a:avLst/>
        </a:prstGeom>
        <a:solidFill>
          <a:schemeClr val="lt1">
            <a:alpha val="90000"/>
            <a:hueOff val="0"/>
            <a:satOff val="0"/>
            <a:lumOff val="0"/>
            <a:alphaOff val="0"/>
          </a:schemeClr>
        </a:solidFill>
        <a:ln w="12700" cap="flat" cmpd="sng" algn="ctr">
          <a:solidFill>
            <a:srgbClr val="7FC25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ime</a:t>
          </a:r>
        </a:p>
      </dsp:txBody>
      <dsp:txXfrm>
        <a:off x="1776712" y="1012015"/>
        <a:ext cx="1240044" cy="12398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806946-58FC-4B62-B39C-1D27974BC564}">
      <dsp:nvSpPr>
        <dsp:cNvPr id="0" name=""/>
        <dsp:cNvSpPr/>
      </dsp:nvSpPr>
      <dsp:spPr>
        <a:xfrm>
          <a:off x="2114560" y="2041028"/>
          <a:ext cx="1454106" cy="14541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US" sz="6200" kern="1200"/>
            <a:t> </a:t>
          </a:r>
        </a:p>
      </dsp:txBody>
      <dsp:txXfrm>
        <a:off x="2327509" y="2253977"/>
        <a:ext cx="1028208" cy="1028208"/>
      </dsp:txXfrm>
    </dsp:sp>
    <dsp:sp modelId="{302FE154-82DD-4F51-B5DD-101A64B807AC}">
      <dsp:nvSpPr>
        <dsp:cNvPr id="0" name=""/>
        <dsp:cNvSpPr/>
      </dsp:nvSpPr>
      <dsp:spPr>
        <a:xfrm rot="16200000">
          <a:off x="2687119" y="1511077"/>
          <a:ext cx="308987" cy="494396"/>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733467" y="1656304"/>
        <a:ext cx="216291" cy="296638"/>
      </dsp:txXfrm>
    </dsp:sp>
    <dsp:sp modelId="{8AB27431-06AC-45F0-91DD-9900AE174A5F}">
      <dsp:nvSpPr>
        <dsp:cNvPr id="0" name=""/>
        <dsp:cNvSpPr/>
      </dsp:nvSpPr>
      <dsp:spPr>
        <a:xfrm>
          <a:off x="2114560" y="3925"/>
          <a:ext cx="1454106" cy="14541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endParaRPr lang="en-US" sz="6200" kern="1200"/>
        </a:p>
      </dsp:txBody>
      <dsp:txXfrm>
        <a:off x="2327509" y="216874"/>
        <a:ext cx="1028208" cy="1028208"/>
      </dsp:txXfrm>
    </dsp:sp>
    <dsp:sp modelId="{FA865888-C02D-4DE0-8EDB-A265C294DD0A}">
      <dsp:nvSpPr>
        <dsp:cNvPr id="0" name=""/>
        <dsp:cNvSpPr/>
      </dsp:nvSpPr>
      <dsp:spPr>
        <a:xfrm>
          <a:off x="3696926" y="2520883"/>
          <a:ext cx="308987" cy="4943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3696926" y="2619762"/>
        <a:ext cx="216291" cy="296638"/>
      </dsp:txXfrm>
    </dsp:sp>
    <dsp:sp modelId="{79614712-E3E8-47D9-B693-8F170F9185EF}">
      <dsp:nvSpPr>
        <dsp:cNvPr id="0" name=""/>
        <dsp:cNvSpPr/>
      </dsp:nvSpPr>
      <dsp:spPr>
        <a:xfrm>
          <a:off x="4151662" y="2041028"/>
          <a:ext cx="1454106" cy="14541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US" sz="6200" kern="1200"/>
            <a:t> </a:t>
          </a:r>
        </a:p>
      </dsp:txBody>
      <dsp:txXfrm>
        <a:off x="4364611" y="2253977"/>
        <a:ext cx="1028208" cy="1028208"/>
      </dsp:txXfrm>
    </dsp:sp>
    <dsp:sp modelId="{9D2A478D-1706-4838-B3AE-E711E8BC53BA}">
      <dsp:nvSpPr>
        <dsp:cNvPr id="0" name=""/>
        <dsp:cNvSpPr/>
      </dsp:nvSpPr>
      <dsp:spPr>
        <a:xfrm rot="5400000">
          <a:off x="2687119" y="3530690"/>
          <a:ext cx="308987" cy="494396"/>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733467" y="3583221"/>
        <a:ext cx="216291" cy="296638"/>
      </dsp:txXfrm>
    </dsp:sp>
    <dsp:sp modelId="{4D6C522E-00FD-4A20-9791-B92A492ADB36}">
      <dsp:nvSpPr>
        <dsp:cNvPr id="0" name=""/>
        <dsp:cNvSpPr/>
      </dsp:nvSpPr>
      <dsp:spPr>
        <a:xfrm>
          <a:off x="2114560" y="4078131"/>
          <a:ext cx="1454106" cy="14541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US" sz="6200" kern="1200"/>
            <a:t> </a:t>
          </a:r>
        </a:p>
      </dsp:txBody>
      <dsp:txXfrm>
        <a:off x="2327509" y="4291080"/>
        <a:ext cx="1028208" cy="1028208"/>
      </dsp:txXfrm>
    </dsp:sp>
    <dsp:sp modelId="{475CBC91-8CF3-472F-9BCA-A12B8E156B06}">
      <dsp:nvSpPr>
        <dsp:cNvPr id="0" name=""/>
        <dsp:cNvSpPr/>
      </dsp:nvSpPr>
      <dsp:spPr>
        <a:xfrm rot="10800000">
          <a:off x="1677313" y="2520883"/>
          <a:ext cx="308987" cy="49439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rot="10800000">
        <a:off x="1770009" y="2619762"/>
        <a:ext cx="216291" cy="296638"/>
      </dsp:txXfrm>
    </dsp:sp>
    <dsp:sp modelId="{DF870EDB-CB2F-4198-B717-85DA4667C868}">
      <dsp:nvSpPr>
        <dsp:cNvPr id="0" name=""/>
        <dsp:cNvSpPr/>
      </dsp:nvSpPr>
      <dsp:spPr>
        <a:xfrm>
          <a:off x="77457" y="2041028"/>
          <a:ext cx="1454106" cy="14541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US" sz="6200" kern="1200"/>
            <a:t> </a:t>
          </a:r>
        </a:p>
      </dsp:txBody>
      <dsp:txXfrm>
        <a:off x="290406" y="2253977"/>
        <a:ext cx="1028208" cy="1028208"/>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324A93-C218-44C2-9986-568B484CD25D}" type="datetimeFigureOut">
              <a:rPr lang="en-NL" smtClean="0"/>
              <a:t>29/09/2020</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9B23AF-B307-4138-8F5D-226D81F8071C}" type="slidenum">
              <a:rPr lang="en-NL" smtClean="0"/>
              <a:t>‹#›</a:t>
            </a:fld>
            <a:endParaRPr lang="en-NL"/>
          </a:p>
        </p:txBody>
      </p:sp>
    </p:spTree>
    <p:extLst>
      <p:ext uri="{BB962C8B-B14F-4D97-AF65-F5344CB8AC3E}">
        <p14:creationId xmlns:p14="http://schemas.microsoft.com/office/powerpoint/2010/main" val="16950400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n.wikipedia.org/wiki/Graphical_user_interface"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9/2020 5: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753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portantly, Power Automate is automation for all.  Power Automate is designed for ease of use for business or departmental users, the world’s growing citizen developer community, yet also offers the functionality required for experienced developers.  Power Automate is also built to support the needs of modern IT teams and Admins, from automating mundane IT functions, to providing security, compliance, and control over the usage and execution of Power Automate across the IT ecosystem.</a:t>
            </a:r>
          </a:p>
          <a:p>
            <a:endParaRPr lang="en-US"/>
          </a:p>
          <a:p>
            <a:r>
              <a:rPr lang="en-US"/>
              <a:t>Power Automate can be used to do simple tasks such as scheduled delivery of emails, to seamlessly integrating with enterprise apps, to enhancing and automate processes that are cumbersome for IT admins.</a:t>
            </a:r>
          </a:p>
          <a:p>
            <a:endParaRPr lang="en-US"/>
          </a:p>
          <a:p>
            <a:pPr marL="0" marR="0" lvl="0" indent="0" algn="l" defTabSz="932418" rtl="0" eaLnBrk="1" fontAlgn="auto" latinLnBrk="0" hangingPunct="1">
              <a:lnSpc>
                <a:spcPct val="100000"/>
              </a:lnSpc>
              <a:spcBef>
                <a:spcPts val="0"/>
              </a:spcBef>
              <a:spcAft>
                <a:spcPts val="306"/>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mn-cs"/>
              </a:rPr>
              <a:t>End Users</a:t>
            </a:r>
          </a:p>
          <a:p>
            <a:pPr marL="233149" marR="0" lvl="0" indent="-11657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Understand the business</a:t>
            </a:r>
          </a:p>
          <a:p>
            <a:pPr marL="233149" marR="0" lvl="0" indent="-116575" algn="l" defTabSz="932418"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Solve their own problems</a:t>
            </a:r>
          </a:p>
          <a:p>
            <a:pPr marL="116574" marR="0" lvl="0" indent="0" algn="l" defTabSz="932418" rtl="0" eaLnBrk="1" fontAlgn="auto" latinLnBrk="0" hangingPunct="1">
              <a:lnSpc>
                <a:spcPct val="100000"/>
              </a:lnSpc>
              <a:spcBef>
                <a:spcPts val="0"/>
              </a:spcBef>
              <a:spcAft>
                <a:spcPts val="306"/>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32418" rtl="0" eaLnBrk="1" fontAlgn="auto" latinLnBrk="0" hangingPunct="1">
              <a:lnSpc>
                <a:spcPct val="100000"/>
              </a:lnSpc>
              <a:spcBef>
                <a:spcPts val="0"/>
              </a:spcBef>
              <a:spcAft>
                <a:spcPts val="306"/>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Professional Developers</a:t>
            </a:r>
          </a:p>
          <a:p>
            <a:pPr marL="233149" marR="0" lvl="0" indent="-11657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Use code to unblock complex requirements</a:t>
            </a:r>
          </a:p>
          <a:p>
            <a:pPr marL="233149" marR="0" lvl="0" indent="-11657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Reduce time to develop and deploy</a:t>
            </a:r>
          </a:p>
          <a:p>
            <a:pPr marL="0" marR="0" lvl="0" indent="0" algn="l" defTabSz="932418" rtl="0" eaLnBrk="1" fontAlgn="auto" latinLnBrk="0" hangingPunct="1">
              <a:lnSpc>
                <a:spcPct val="100000"/>
              </a:lnSpc>
              <a:spcBef>
                <a:spcPts val="0"/>
              </a:spcBef>
              <a:spcAft>
                <a:spcPts val="306"/>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418" rtl="0" eaLnBrk="1" fontAlgn="auto" latinLnBrk="0" hangingPunct="1">
              <a:lnSpc>
                <a:spcPct val="100000"/>
              </a:lnSpc>
              <a:spcBef>
                <a:spcPts val="0"/>
              </a:spcBef>
              <a:spcAft>
                <a:spcPts val="306"/>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mn-cs"/>
              </a:rPr>
              <a:t>IT Professionals</a:t>
            </a:r>
          </a:p>
          <a:p>
            <a:pPr marL="233149" marR="0" lvl="0" indent="-11657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Automate mundane IT functions</a:t>
            </a:r>
          </a:p>
          <a:p>
            <a:pPr marL="233149" marR="0" lvl="0" indent="-11657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Automation that is security and compliant</a:t>
            </a:r>
          </a:p>
          <a:p>
            <a:pPr marL="233149" marR="0" lvl="0" indent="-11657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Offers visibility and control to help ensure governance</a:t>
            </a:r>
          </a:p>
          <a:p>
            <a:pPr marL="116574" marR="0" lvl="0" indent="0" algn="l" defTabSz="932418" rtl="0" eaLnBrk="1" fontAlgn="auto" latinLnBrk="0" hangingPunct="1">
              <a:lnSpc>
                <a:spcPct val="100000"/>
              </a:lnSpc>
              <a:spcBef>
                <a:spcPts val="0"/>
              </a:spcBef>
              <a:spcAft>
                <a:spcPts val="306"/>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a:p>
            <a:pPr marL="116574" marR="0" lvl="0" indent="0" algn="l" defTabSz="932418" rtl="0" eaLnBrk="1" fontAlgn="auto" latinLnBrk="0" hangingPunct="1">
              <a:lnSpc>
                <a:spcPct val="100000"/>
              </a:lnSpc>
              <a:spcBef>
                <a:spcPts val="0"/>
              </a:spcBef>
              <a:spcAft>
                <a:spcPts val="306"/>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5942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9/29/2020 5:5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997696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 only is Power Automate a part of the robust Microsoft ecosystem, but with it, you’ll be able to take advantage of a huge array of certified Microsoft partner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9/2020 5: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62868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EF9AF8-964B-D847-A03E-0EC2D76C4CEA}" type="slidenum">
              <a:rPr lang="en-US" smtClean="0"/>
              <a:t>20</a:t>
            </a:fld>
            <a:endParaRPr lang="en-US"/>
          </a:p>
        </p:txBody>
      </p:sp>
    </p:spTree>
    <p:extLst>
      <p:ext uri="{BB962C8B-B14F-4D97-AF65-F5344CB8AC3E}">
        <p14:creationId xmlns:p14="http://schemas.microsoft.com/office/powerpoint/2010/main" val="359743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EF9AF8-964B-D847-A03E-0EC2D76C4CEA}" type="slidenum">
              <a:rPr lang="en-US" smtClean="0"/>
              <a:t>21</a:t>
            </a:fld>
            <a:endParaRPr lang="en-US"/>
          </a:p>
        </p:txBody>
      </p:sp>
    </p:spTree>
    <p:extLst>
      <p:ext uri="{BB962C8B-B14F-4D97-AF65-F5344CB8AC3E}">
        <p14:creationId xmlns:p14="http://schemas.microsoft.com/office/powerpoint/2010/main" val="4163301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most organizations are experiencing some form of digital transformation, every organization has their own pace and strategy.  And in some cases, you may want to keep some of your older system.  Digital transformation ultimately is about allowing your organization to be nimble and efficient.  Sometimes that means keeping your older systems and figuring out how to integrate them with your more modern systems.</a:t>
            </a:r>
          </a:p>
          <a:p>
            <a:endParaRPr lang="en-US"/>
          </a:p>
          <a:p>
            <a:r>
              <a:rPr lang="en-US"/>
              <a:t>With this critical need in mind, we’re very excited to begin the public preview of Power </a:t>
            </a:r>
            <a:r>
              <a:rPr lang="en-US" err="1"/>
              <a:t>Automate’s</a:t>
            </a:r>
            <a:r>
              <a:rPr lang="en-US"/>
              <a:t> new Robotic Process Automation (RPA) capability.  With the new RPA capability, Power Automate further empowers non-technical users by offering automation for your older applications which don’t have APIs.  With RPA, you can now apply the efficiencies of automation to your older system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4BB296-F46B-43FB-B779-85AC2B50ACF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9/2020 5: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5889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n RPA tool can learn to automate a task by watching the user perform that task in a </a:t>
            </a:r>
            <a:r>
              <a:rPr kumimoji="0" lang="en-US" sz="9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hlinkClick r:id="rId3">
                  <a:extLst>
                    <a:ext uri="{A12FA001-AC4F-418D-AE19-62706E023703}">
                      <ahyp:hlinkClr xmlns:ahyp="http://schemas.microsoft.com/office/drawing/2018/hyperlinkcolor" val="tx"/>
                    </a:ext>
                  </a:extLst>
                </a:hlinkClick>
              </a:rPr>
              <a:t>graphical user interface</a:t>
            </a:r>
            <a:r>
              <a:rPr kumimoji="0" lang="en-US" sz="9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GUI), and then perform the automation by repeating those tasks directly in the GUI.</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9475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Power Automate will offer both attended and unattended RPA.  Attended is in public preview from Nov 4</a:t>
            </a:r>
            <a:r>
              <a:rPr lang="en-US" baseline="30000"/>
              <a:t>th</a:t>
            </a:r>
            <a:r>
              <a:rPr lang="en-US"/>
              <a:t>, 2019 while unattended will be available shortly after.  Attended RPA requires some human intervention and the machine must be on or the user must be logged into the system.  With unattended automation, the RPA bot can log into the system as part of the automation and no human assistance is required.</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9/2020 5: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1257904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 Automate is also built on a secure foundation.  Power Automate leverages Azure Active Directory which is the most widely used enterprise identity and access management service.  This ensures that conditional access policies are applied to individual identities ensuring that Power Automate users can only build Power Automates which can connect to apps and data that they have access rights to.</a:t>
            </a:r>
          </a:p>
          <a:p>
            <a:endParaRPr lang="en-US"/>
          </a:p>
          <a:p>
            <a:r>
              <a:rPr lang="en-US" sz="1200" b="0" i="0" u="none" strike="noStrike" kern="1200">
                <a:solidFill>
                  <a:schemeClr val="tx1"/>
                </a:solidFill>
                <a:effectLst/>
                <a:latin typeface="Segoe UI Light" pitchFamily="34" charset="0"/>
                <a:ea typeface="+mn-ea"/>
                <a:cs typeface="+mn-cs"/>
              </a:rPr>
              <a:t>Power Automate also ensures all your data is encrypted.  Encryption can help protect your data both at rest and in transit. Data requested and transmitted is encrypted in transit using HTTPS.  Data transferred through the on-premises data gateway is encrypted. Data that users upload is typically sent to Azure Blob storage, and all metadata and artifacts for the system itself are stored in an Azure SQL database and Azure Table storage.</a:t>
            </a:r>
          </a:p>
          <a:p>
            <a:endParaRPr lang="en-US" sz="1200" b="0" i="0" u="none" strike="noStrike" kern="1200">
              <a:solidFill>
                <a:schemeClr val="tx1"/>
              </a:solidFill>
              <a:effectLst/>
              <a:latin typeface="Segoe UI Light" pitchFamily="34" charset="0"/>
              <a:ea typeface="+mn-ea"/>
              <a:cs typeface="+mn-cs"/>
            </a:endParaRPr>
          </a:p>
          <a:p>
            <a:r>
              <a:rPr lang="en-US" sz="1200" b="0" i="0" u="none" strike="noStrike" kern="1200">
                <a:solidFill>
                  <a:schemeClr val="tx1"/>
                </a:solidFill>
                <a:effectLst/>
                <a:latin typeface="Segoe UI Light" pitchFamily="34" charset="0"/>
                <a:ea typeface="+mn-ea"/>
                <a:cs typeface="+mn-cs"/>
              </a:rPr>
              <a:t>Finally, administrators can configure Data Loss Prevention policies to control the flow of data between different services in their flows and apps. These policies can block data from being sent to non-compliant systems even if the end user would have access to send this information manually.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2915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EF9AF8-964B-D847-A03E-0EC2D76C4CEA}" type="slidenum">
              <a:rPr lang="en-US" smtClean="0"/>
              <a:t>31</a:t>
            </a:fld>
            <a:endParaRPr lang="en-US"/>
          </a:p>
        </p:txBody>
      </p:sp>
    </p:spTree>
    <p:extLst>
      <p:ext uri="{BB962C8B-B14F-4D97-AF65-F5344CB8AC3E}">
        <p14:creationId xmlns:p14="http://schemas.microsoft.com/office/powerpoint/2010/main" val="2935765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273C79-4994-47A5-A6AE-527D06C8FC24}" type="slidenum">
              <a:rPr kumimoji="0" lang="nl-NL"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97389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A5996073-F42D-D847-A27C-CA79A47E63A1}" type="slidenum">
              <a:rPr lang="en-US" smtClean="0"/>
              <a:t>32</a:t>
            </a:fld>
            <a:endParaRPr lang="en-US" dirty="0"/>
          </a:p>
        </p:txBody>
      </p:sp>
    </p:spTree>
    <p:extLst>
      <p:ext uri="{BB962C8B-B14F-4D97-AF65-F5344CB8AC3E}">
        <p14:creationId xmlns:p14="http://schemas.microsoft.com/office/powerpoint/2010/main" val="759929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A5996073-F42D-D847-A27C-CA79A47E63A1}" type="slidenum">
              <a:rPr lang="en-US" smtClean="0"/>
              <a:t>33</a:t>
            </a:fld>
            <a:endParaRPr lang="en-US" dirty="0"/>
          </a:p>
        </p:txBody>
      </p:sp>
    </p:spTree>
    <p:extLst>
      <p:ext uri="{BB962C8B-B14F-4D97-AF65-F5344CB8AC3E}">
        <p14:creationId xmlns:p14="http://schemas.microsoft.com/office/powerpoint/2010/main" val="2567927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A5996073-F42D-D847-A27C-CA79A47E63A1}" type="slidenum">
              <a:rPr lang="en-US" smtClean="0"/>
              <a:t>34</a:t>
            </a:fld>
            <a:endParaRPr lang="en-US" dirty="0"/>
          </a:p>
        </p:txBody>
      </p:sp>
    </p:spTree>
    <p:extLst>
      <p:ext uri="{BB962C8B-B14F-4D97-AF65-F5344CB8AC3E}">
        <p14:creationId xmlns:p14="http://schemas.microsoft.com/office/powerpoint/2010/main" val="41371136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A5996073-F42D-D847-A27C-CA79A47E63A1}" type="slidenum">
              <a:rPr lang="en-US" smtClean="0"/>
              <a:t>35</a:t>
            </a:fld>
            <a:endParaRPr lang="en-US" dirty="0"/>
          </a:p>
        </p:txBody>
      </p:sp>
    </p:spTree>
    <p:extLst>
      <p:ext uri="{BB962C8B-B14F-4D97-AF65-F5344CB8AC3E}">
        <p14:creationId xmlns:p14="http://schemas.microsoft.com/office/powerpoint/2010/main" val="2112086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A5996073-F42D-D847-A27C-CA79A47E63A1}" type="slidenum">
              <a:rPr lang="en-US" smtClean="0"/>
              <a:t>36</a:t>
            </a:fld>
            <a:endParaRPr lang="en-US" dirty="0"/>
          </a:p>
        </p:txBody>
      </p:sp>
    </p:spTree>
    <p:extLst>
      <p:ext uri="{BB962C8B-B14F-4D97-AF65-F5344CB8AC3E}">
        <p14:creationId xmlns:p14="http://schemas.microsoft.com/office/powerpoint/2010/main" val="5194644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2020 5:53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7411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e Power Automate Desktop</a:t>
            </a:r>
          </a:p>
          <a:p>
            <a:r>
              <a:rPr lang="nl-NL" dirty="0"/>
              <a:t>Record steps entering data in </a:t>
            </a:r>
            <a:r>
              <a:rPr lang="nl-NL" dirty="0" err="1"/>
              <a:t>TimeChimp</a:t>
            </a:r>
            <a:endParaRPr lang="nl-NL" dirty="0"/>
          </a:p>
          <a:p>
            <a:r>
              <a:rPr lang="nl-NL" dirty="0" err="1"/>
              <a:t>Use</a:t>
            </a:r>
            <a:r>
              <a:rPr lang="nl-NL" dirty="0"/>
              <a:t> variables </a:t>
            </a:r>
            <a:r>
              <a:rPr lang="nl-NL" dirty="0" err="1"/>
              <a:t>for</a:t>
            </a:r>
            <a:r>
              <a:rPr lang="nl-NL" dirty="0"/>
              <a:t> entries</a:t>
            </a:r>
          </a:p>
        </p:txBody>
      </p:sp>
      <p:sp>
        <p:nvSpPr>
          <p:cNvPr id="4" name="Slide Number Placeholder 3"/>
          <p:cNvSpPr>
            <a:spLocks noGrp="1"/>
          </p:cNvSpPr>
          <p:nvPr>
            <p:ph type="sldNum" sz="quarter" idx="5"/>
          </p:nvPr>
        </p:nvSpPr>
        <p:spPr/>
        <p:txBody>
          <a:bodyPr/>
          <a:lstStyle/>
          <a:p>
            <a:fld id="{E29B23AF-B307-4138-8F5D-226D81F8071C}" type="slidenum">
              <a:rPr lang="en-NL" smtClean="0"/>
              <a:t>38</a:t>
            </a:fld>
            <a:endParaRPr lang="en-NL"/>
          </a:p>
        </p:txBody>
      </p:sp>
    </p:spTree>
    <p:extLst>
      <p:ext uri="{BB962C8B-B14F-4D97-AF65-F5344CB8AC3E}">
        <p14:creationId xmlns:p14="http://schemas.microsoft.com/office/powerpoint/2010/main" val="35595488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UI elements</a:t>
            </a:r>
          </a:p>
          <a:p>
            <a:r>
              <a:rPr lang="en-US" dirty="0"/>
              <a:t>Show capabilities about data retrieval, looping, UI interaction, etc.</a:t>
            </a:r>
          </a:p>
          <a:p>
            <a:r>
              <a:rPr lang="en-US" dirty="0"/>
              <a:t>Get data from Excel</a:t>
            </a:r>
          </a:p>
          <a:p>
            <a:r>
              <a:rPr lang="nl-NL" dirty="0" err="1"/>
              <a:t>Fill</a:t>
            </a:r>
            <a:r>
              <a:rPr lang="nl-NL" dirty="0"/>
              <a:t> in </a:t>
            </a:r>
            <a:r>
              <a:rPr lang="nl-NL" dirty="0" err="1"/>
              <a:t>TimeChimp</a:t>
            </a:r>
            <a:r>
              <a:rPr lang="nl-NL" dirty="0"/>
              <a:t> </a:t>
            </a:r>
            <a:r>
              <a:rPr lang="nl-NL" dirty="0" err="1"/>
              <a:t>using</a:t>
            </a:r>
            <a:r>
              <a:rPr lang="nl-NL" dirty="0"/>
              <a:t> </a:t>
            </a:r>
            <a:r>
              <a:rPr lang="nl-NL" dirty="0" err="1"/>
              <a:t>local</a:t>
            </a:r>
            <a:r>
              <a:rPr lang="nl-NL" dirty="0"/>
              <a:t> experience </a:t>
            </a:r>
            <a:r>
              <a:rPr lang="nl-NL" dirty="0" err="1"/>
              <a:t>with</a:t>
            </a:r>
            <a:r>
              <a:rPr lang="nl-NL" dirty="0"/>
              <a:t> data </a:t>
            </a:r>
            <a:r>
              <a:rPr lang="nl-NL" dirty="0" err="1"/>
              <a:t>from</a:t>
            </a:r>
            <a:r>
              <a:rPr lang="nl-NL" dirty="0"/>
              <a:t> Excel</a:t>
            </a:r>
          </a:p>
          <a:p>
            <a:endParaRPr lang="nl-NL" dirty="0"/>
          </a:p>
        </p:txBody>
      </p:sp>
      <p:sp>
        <p:nvSpPr>
          <p:cNvPr id="4" name="Slide Number Placeholder 3"/>
          <p:cNvSpPr>
            <a:spLocks noGrp="1"/>
          </p:cNvSpPr>
          <p:nvPr>
            <p:ph type="sldNum" sz="quarter" idx="5"/>
          </p:nvPr>
        </p:nvSpPr>
        <p:spPr/>
        <p:txBody>
          <a:bodyPr/>
          <a:lstStyle/>
          <a:p>
            <a:fld id="{E29B23AF-B307-4138-8F5D-226D81F8071C}" type="slidenum">
              <a:rPr lang="en-NL" smtClean="0"/>
              <a:t>39</a:t>
            </a:fld>
            <a:endParaRPr lang="en-NL"/>
          </a:p>
        </p:txBody>
      </p:sp>
    </p:spTree>
    <p:extLst>
      <p:ext uri="{BB962C8B-B14F-4D97-AF65-F5344CB8AC3E}">
        <p14:creationId xmlns:p14="http://schemas.microsoft.com/office/powerpoint/2010/main" val="30768752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Power Automate to retrieve entries from Outlook</a:t>
            </a:r>
          </a:p>
          <a:p>
            <a:r>
              <a:rPr lang="en-US" dirty="0"/>
              <a:t>Call Power Automate Desktop for 3 customers</a:t>
            </a:r>
          </a:p>
          <a:p>
            <a:pPr marL="171450" indent="-171450">
              <a:buFontTx/>
              <a:buChar char="-"/>
            </a:pPr>
            <a:r>
              <a:rPr lang="en-US" dirty="0"/>
              <a:t>Fill in data for Contoso, </a:t>
            </a:r>
            <a:r>
              <a:rPr lang="en-US" dirty="0" err="1"/>
              <a:t>Fabrikam</a:t>
            </a:r>
            <a:r>
              <a:rPr lang="en-US" dirty="0"/>
              <a:t> and Northwind in </a:t>
            </a:r>
            <a:r>
              <a:rPr lang="en-US" dirty="0" err="1"/>
              <a:t>TimeChimp</a:t>
            </a:r>
            <a:r>
              <a:rPr lang="en-US" dirty="0"/>
              <a:t> (Website)</a:t>
            </a:r>
          </a:p>
          <a:p>
            <a:pPr marL="171450" indent="-171450">
              <a:buFontTx/>
              <a:buChar char="-"/>
            </a:pPr>
            <a:r>
              <a:rPr lang="en-US" dirty="0"/>
              <a:t>Fill in data for </a:t>
            </a:r>
            <a:r>
              <a:rPr lang="en-US" dirty="0" err="1"/>
              <a:t>Fabrikam</a:t>
            </a:r>
            <a:r>
              <a:rPr lang="en-US" dirty="0"/>
              <a:t> in Time Tracker (Windows application)</a:t>
            </a:r>
          </a:p>
          <a:p>
            <a:pPr marL="171450" indent="-171450">
              <a:buFontTx/>
              <a:buChar char="-"/>
            </a:pPr>
            <a:r>
              <a:rPr lang="en-US" dirty="0"/>
              <a:t>Fill in data for Northwind in Excel and send mail from Power Automate Desktop (Show Excel and Outlook capabilities and other possibilities)</a:t>
            </a:r>
          </a:p>
          <a:p>
            <a:pPr marL="171450" indent="-171450">
              <a:buFontTx/>
              <a:buChar char="-"/>
            </a:pPr>
            <a:endParaRPr lang="nl-NL" dirty="0"/>
          </a:p>
        </p:txBody>
      </p:sp>
      <p:sp>
        <p:nvSpPr>
          <p:cNvPr id="4" name="Slide Number Placeholder 3"/>
          <p:cNvSpPr>
            <a:spLocks noGrp="1"/>
          </p:cNvSpPr>
          <p:nvPr>
            <p:ph type="sldNum" sz="quarter" idx="5"/>
          </p:nvPr>
        </p:nvSpPr>
        <p:spPr/>
        <p:txBody>
          <a:bodyPr/>
          <a:lstStyle/>
          <a:p>
            <a:fld id="{E29B23AF-B307-4138-8F5D-226D81F8071C}" type="slidenum">
              <a:rPr lang="en-NL" smtClean="0"/>
              <a:t>40</a:t>
            </a:fld>
            <a:endParaRPr lang="en-NL"/>
          </a:p>
        </p:txBody>
      </p:sp>
    </p:spTree>
    <p:extLst>
      <p:ext uri="{BB962C8B-B14F-4D97-AF65-F5344CB8AC3E}">
        <p14:creationId xmlns:p14="http://schemas.microsoft.com/office/powerpoint/2010/main" val="2833681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iggered from Virtual Ag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ll Power Automate Desktop</a:t>
            </a:r>
          </a:p>
          <a:p>
            <a:pPr marL="171450" indent="-171450">
              <a:buFontTx/>
              <a:buChar char="-"/>
            </a:pPr>
            <a:r>
              <a:rPr lang="en-US" dirty="0"/>
              <a:t>Export </a:t>
            </a:r>
            <a:r>
              <a:rPr lang="en-US" dirty="0" err="1"/>
              <a:t>TimeChimp</a:t>
            </a:r>
            <a:r>
              <a:rPr lang="en-US" dirty="0"/>
              <a:t> overviews to OneDrive per customer</a:t>
            </a:r>
          </a:p>
          <a:p>
            <a:pPr marL="0" indent="0">
              <a:buFontTx/>
              <a:buNone/>
            </a:pPr>
            <a:r>
              <a:rPr lang="en-US" dirty="0"/>
              <a:t>Wait for files to arrive on OneDrive</a:t>
            </a:r>
          </a:p>
          <a:p>
            <a:pPr marL="0" indent="0">
              <a:buFontTx/>
              <a:buNone/>
            </a:pPr>
            <a:r>
              <a:rPr lang="en-US" dirty="0"/>
              <a:t>Send both files using email with approval</a:t>
            </a:r>
          </a:p>
          <a:p>
            <a:pPr marL="0" indent="0">
              <a:buFontTx/>
              <a:buNone/>
            </a:pPr>
            <a:r>
              <a:rPr lang="en-US" dirty="0"/>
              <a:t>Receive response from Contoso</a:t>
            </a:r>
          </a:p>
          <a:p>
            <a:pPr marL="0" indent="0">
              <a:buFontTx/>
              <a:buNone/>
            </a:pPr>
            <a:r>
              <a:rPr lang="en-US" dirty="0"/>
              <a:t>Use cognitive services to check for signature set (using Logic Apps?)</a:t>
            </a:r>
          </a:p>
          <a:p>
            <a:pPr marL="0" indent="0">
              <a:buFontTx/>
              <a:buNone/>
            </a:pPr>
            <a:r>
              <a:rPr lang="en-US" dirty="0"/>
              <a:t>If signature not set, notify user</a:t>
            </a:r>
          </a:p>
          <a:p>
            <a:pPr marL="0" indent="0">
              <a:buFontTx/>
              <a:buNone/>
            </a:pPr>
            <a:r>
              <a:rPr lang="en-US" dirty="0"/>
              <a:t>If signature set, save to SharePoint and notify user</a:t>
            </a:r>
          </a:p>
          <a:p>
            <a:endParaRPr lang="nl-NL" dirty="0"/>
          </a:p>
        </p:txBody>
      </p:sp>
      <p:sp>
        <p:nvSpPr>
          <p:cNvPr id="4" name="Slide Number Placeholder 3"/>
          <p:cNvSpPr>
            <a:spLocks noGrp="1"/>
          </p:cNvSpPr>
          <p:nvPr>
            <p:ph type="sldNum" sz="quarter" idx="5"/>
          </p:nvPr>
        </p:nvSpPr>
        <p:spPr/>
        <p:txBody>
          <a:bodyPr/>
          <a:lstStyle/>
          <a:p>
            <a:fld id="{E29B23AF-B307-4138-8F5D-226D81F8071C}" type="slidenum">
              <a:rPr lang="en-NL" smtClean="0"/>
              <a:t>41</a:t>
            </a:fld>
            <a:endParaRPr lang="en-NL"/>
          </a:p>
        </p:txBody>
      </p:sp>
    </p:spTree>
    <p:extLst>
      <p:ext uri="{BB962C8B-B14F-4D97-AF65-F5344CB8AC3E}">
        <p14:creationId xmlns:p14="http://schemas.microsoft.com/office/powerpoint/2010/main" val="466082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80EB3E-5A84-6942-8D29-EE544E5A0995}" type="slidenum">
              <a:rPr lang="en-US" smtClean="0"/>
              <a:t>3</a:t>
            </a:fld>
            <a:endParaRPr lang="en-US"/>
          </a:p>
        </p:txBody>
      </p:sp>
    </p:spTree>
    <p:extLst>
      <p:ext uri="{BB962C8B-B14F-4D97-AF65-F5344CB8AC3E}">
        <p14:creationId xmlns:p14="http://schemas.microsoft.com/office/powerpoint/2010/main" val="38639117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nse report uploaded</a:t>
            </a:r>
          </a:p>
          <a:p>
            <a:r>
              <a:rPr lang="en-US" dirty="0"/>
              <a:t>Use form recognizer to get total expenses</a:t>
            </a:r>
          </a:p>
          <a:p>
            <a:r>
              <a:rPr lang="en-US" dirty="0"/>
              <a:t>Use bot in Teams to ask manager for approval</a:t>
            </a:r>
          </a:p>
          <a:p>
            <a:endParaRPr lang="nl-NL" dirty="0"/>
          </a:p>
        </p:txBody>
      </p:sp>
      <p:sp>
        <p:nvSpPr>
          <p:cNvPr id="4" name="Slide Number Placeholder 3"/>
          <p:cNvSpPr>
            <a:spLocks noGrp="1"/>
          </p:cNvSpPr>
          <p:nvPr>
            <p:ph type="sldNum" sz="quarter" idx="5"/>
          </p:nvPr>
        </p:nvSpPr>
        <p:spPr/>
        <p:txBody>
          <a:bodyPr/>
          <a:lstStyle/>
          <a:p>
            <a:fld id="{E29B23AF-B307-4138-8F5D-226D81F8071C}" type="slidenum">
              <a:rPr lang="en-NL" smtClean="0"/>
              <a:t>42</a:t>
            </a:fld>
            <a:endParaRPr lang="en-NL"/>
          </a:p>
        </p:txBody>
      </p:sp>
    </p:spTree>
    <p:extLst>
      <p:ext uri="{BB962C8B-B14F-4D97-AF65-F5344CB8AC3E}">
        <p14:creationId xmlns:p14="http://schemas.microsoft.com/office/powerpoint/2010/main" val="9393167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Rustig spreke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9/2020 5:5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708336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AD3FC1-5407-42E3-A9C8-31D73CE0E1BB}" type="slidenum">
              <a:rPr lang="en-US" smtClean="0"/>
              <a:t>7</a:t>
            </a:fld>
            <a:endParaRPr lang="en-US"/>
          </a:p>
        </p:txBody>
      </p:sp>
    </p:spTree>
    <p:extLst>
      <p:ext uri="{BB962C8B-B14F-4D97-AF65-F5344CB8AC3E}">
        <p14:creationId xmlns:p14="http://schemas.microsoft.com/office/powerpoint/2010/main" val="3046843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907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help empower your people and elevate their talents, Microsoft combined the capabilities of three services into a unique and powerful low-code development platform.  While the Power Platform has capabilities which will impress any seasoned developer, it is designed to be </a:t>
            </a:r>
            <a:r>
              <a:rPr lang="en-US" sz="1200" b="0" i="0" u="none" strike="noStrike" kern="1200">
                <a:solidFill>
                  <a:schemeClr val="tx1"/>
                </a:solidFill>
                <a:effectLst/>
                <a:latin typeface="Segoe UI Light" pitchFamily="34" charset="0"/>
                <a:ea typeface="+mn-ea"/>
                <a:cs typeface="+mn-cs"/>
              </a:rPr>
              <a:t>approachable and accessible to those in the best position to identify transformative applications – those who work on the front lines of a business.</a:t>
            </a:r>
          </a:p>
          <a:p>
            <a:endParaRPr lang="en-US" sz="1200" b="0" i="0" u="none" strike="noStrike" kern="1200">
              <a:solidFill>
                <a:schemeClr val="tx1"/>
              </a:solidFill>
              <a:effectLst/>
              <a:latin typeface="Segoe UI Light" pitchFamily="34" charset="0"/>
              <a:ea typeface="+mn-ea"/>
              <a:cs typeface="+mn-cs"/>
            </a:endParaRPr>
          </a:p>
          <a:p>
            <a:r>
              <a:rPr lang="en-US" sz="1200" b="0" i="0" u="none" strike="noStrike" kern="1200">
                <a:solidFill>
                  <a:schemeClr val="tx1"/>
                </a:solidFill>
                <a:effectLst/>
                <a:latin typeface="Segoe UI Light" pitchFamily="34" charset="0"/>
                <a:ea typeface="+mn-ea"/>
                <a:cs typeface="+mn-cs"/>
              </a:rPr>
              <a:t>Digital transformation means more efficient use of your data to gain insight which facilitates more intelligent business processes and decision-making.  However, organizations cannot achieve this efficiency with only programmers, data scientists, and tech professionals because there simply are not enough of them.  One of the foundational goals of the Power Platform is to empower the limitless potential of citizen developers who can use its capabilities to unlock insights and develop processes that would otherwise never surface.</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t>The Power Platform is </a:t>
            </a:r>
            <a:r>
              <a:rPr kumimoji="0" lang="en-US" sz="12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rPr>
              <a:t>a singular </a:t>
            </a:r>
            <a:r>
              <a:rPr kumimoji="0" lang="en-US" sz="1200" b="0" i="0" u="none" strike="noStrike" kern="1200" cap="none" spc="0" normalizeH="0" baseline="0" noProof="0">
                <a:ln>
                  <a:noFill/>
                </a:ln>
                <a:solidFill>
                  <a:srgbClr val="505050"/>
                </a:solidFill>
                <a:effectLst/>
                <a:uLnTx/>
                <a:uFillTx/>
                <a:latin typeface="Segoe UI Semibold"/>
                <a:ea typeface="+mn-ea"/>
                <a:cs typeface="Segoe UI Semilight" panose="020B0402040204020203" pitchFamily="34" charset="0"/>
              </a:rPr>
              <a:t>low-code</a:t>
            </a:r>
            <a:r>
              <a:rPr kumimoji="0" lang="en-US" sz="12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rPr>
              <a:t> platform that spans Office 365, Dynamics 365, Azure and standalon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a:t>Today we’re going to dive deeper into Power Automate which is Microsoft’s service that enables automation for all and serves as a crucial component of the Power Platform.  </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9/2020 5:53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720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lIns="90416" tIns="45208" rIns="90416" bIns="45208"/>
          <a:lstStyle/>
          <a:p>
            <a:pPr marL="0" marR="0" lvl="0" indent="0" algn="r" defTabSz="904159" rtl="0" eaLnBrk="1" fontAlgn="auto" latinLnBrk="0" hangingPunct="1">
              <a:lnSpc>
                <a:spcPct val="100000"/>
              </a:lnSpc>
              <a:spcBef>
                <a:spcPts val="0"/>
              </a:spcBef>
              <a:spcAft>
                <a:spcPts val="0"/>
              </a:spcAft>
              <a:buClrTx/>
              <a:buSzTx/>
              <a:buFontTx/>
              <a:buNone/>
              <a:tabLst/>
              <a:defRPr/>
            </a:pPr>
            <a:fld id="{0A0E12B5-9D7A-4372-9DDD-FC183FB8F6D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04159"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573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5611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4060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C3094-B357-4604-AD61-4DAF5563C3E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L"/>
          </a:p>
        </p:txBody>
      </p:sp>
      <p:sp>
        <p:nvSpPr>
          <p:cNvPr id="3" name="Subtitle 2">
            <a:extLst>
              <a:ext uri="{FF2B5EF4-FFF2-40B4-BE49-F238E27FC236}">
                <a16:creationId xmlns:a16="http://schemas.microsoft.com/office/drawing/2014/main" id="{44756C13-9BED-4F62-B3F8-F7E28DC27F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ADF454E3-A9F6-4F09-BB0B-BDD5A5387965}"/>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5" name="Footer Placeholder 4">
            <a:extLst>
              <a:ext uri="{FF2B5EF4-FFF2-40B4-BE49-F238E27FC236}">
                <a16:creationId xmlns:a16="http://schemas.microsoft.com/office/drawing/2014/main" id="{52F66DEB-B2CF-4CA0-ABEC-8A9A43819657}"/>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53ACEB2F-4354-425B-8715-87C8E89ED0EA}"/>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75937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27C6E-2596-4980-801D-4CDA0760F9FA}"/>
              </a:ext>
            </a:extLst>
          </p:cNvPr>
          <p:cNvSpPr>
            <a:spLocks noGrp="1"/>
          </p:cNvSpPr>
          <p:nvPr>
            <p:ph type="title"/>
          </p:nvPr>
        </p:nvSpPr>
        <p:spPr>
          <a:xfrm>
            <a:off x="839788" y="457200"/>
            <a:ext cx="3932237" cy="5411788"/>
          </a:xfrm>
        </p:spPr>
        <p:txBody>
          <a:bodyPr anchor="ctr">
            <a:normAutofit/>
          </a:bodyPr>
          <a:lstStyle>
            <a:lvl1pPr>
              <a:defRPr lang="en-NL" sz="6000" kern="1200" dirty="0">
                <a:solidFill>
                  <a:schemeClr val="bg1"/>
                </a:solidFill>
                <a:latin typeface="+mj-lt"/>
                <a:ea typeface="+mj-ea"/>
                <a:cs typeface="+mj-cs"/>
              </a:defRPr>
            </a:lvl1pPr>
          </a:lstStyle>
          <a:p>
            <a:r>
              <a:rPr lang="en-US" dirty="0"/>
              <a:t>Click to edit Master title style</a:t>
            </a:r>
            <a:endParaRPr lang="en-NL" dirty="0"/>
          </a:p>
        </p:txBody>
      </p:sp>
      <p:sp>
        <p:nvSpPr>
          <p:cNvPr id="3" name="Content Placeholder 2">
            <a:extLst>
              <a:ext uri="{FF2B5EF4-FFF2-40B4-BE49-F238E27FC236}">
                <a16:creationId xmlns:a16="http://schemas.microsoft.com/office/drawing/2014/main" id="{72F0A240-EA0B-4EAC-A1ED-C6D98FD976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Date Placeholder 4">
            <a:extLst>
              <a:ext uri="{FF2B5EF4-FFF2-40B4-BE49-F238E27FC236}">
                <a16:creationId xmlns:a16="http://schemas.microsoft.com/office/drawing/2014/main" id="{4BE4B16B-51B6-415D-A454-7BC8A360A39F}"/>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6" name="Footer Placeholder 5">
            <a:extLst>
              <a:ext uri="{FF2B5EF4-FFF2-40B4-BE49-F238E27FC236}">
                <a16:creationId xmlns:a16="http://schemas.microsoft.com/office/drawing/2014/main" id="{5B0BB79D-5D5A-4F4F-A410-8E42F9D0D949}"/>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5D9FAF42-01AA-4934-A765-D576E8CD173D}"/>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316656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05DA9-1A98-4686-BB5B-814322F4AD47}"/>
              </a:ext>
            </a:extLst>
          </p:cNvPr>
          <p:cNvSpPr>
            <a:spLocks noGrp="1"/>
          </p:cNvSpPr>
          <p:nvPr>
            <p:ph type="title"/>
          </p:nvPr>
        </p:nvSpPr>
        <p:spPr/>
        <p:txBody>
          <a:bodyPr/>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A39B4037-7A4A-4384-BE2D-2DA395F6C7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30FF72D5-A0BA-484C-B089-42D46786BF86}"/>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5" name="Footer Placeholder 4">
            <a:extLst>
              <a:ext uri="{FF2B5EF4-FFF2-40B4-BE49-F238E27FC236}">
                <a16:creationId xmlns:a16="http://schemas.microsoft.com/office/drawing/2014/main" id="{AD9AD2AD-0FDB-4449-B372-27DD2412081A}"/>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DFEFA7C-ABC0-4494-8BC6-A54D2D485076}"/>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38733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36A39D-C168-4465-9B46-8F14734DABE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DAA6CD48-DCD0-4DAB-BBDA-F31EA1154D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0A4538D0-3720-4020-BC79-BB90653E40A4}"/>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5" name="Footer Placeholder 4">
            <a:extLst>
              <a:ext uri="{FF2B5EF4-FFF2-40B4-BE49-F238E27FC236}">
                <a16:creationId xmlns:a16="http://schemas.microsoft.com/office/drawing/2014/main" id="{C45A4044-D15A-4411-B7C6-B765E3E5862D}"/>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7388C63-0AB8-4F72-AB7A-BB25E97E641F}"/>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2926681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505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1727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87651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EF8A5-01A4-4603-986F-092FE964A3EF}"/>
              </a:ext>
            </a:extLst>
          </p:cNvPr>
          <p:cNvSpPr>
            <a:spLocks noGrp="1"/>
          </p:cNvSpPr>
          <p:nvPr>
            <p:ph type="title"/>
          </p:nvPr>
        </p:nvSpPr>
        <p:spPr/>
        <p:txBody>
          <a:bodyPr/>
          <a:lstStyle/>
          <a:p>
            <a:r>
              <a:rPr lang="en-US" dirty="0"/>
              <a:t>Click to edit Master title style</a:t>
            </a:r>
            <a:endParaRPr lang="en-NL" dirty="0"/>
          </a:p>
        </p:txBody>
      </p:sp>
      <p:sp>
        <p:nvSpPr>
          <p:cNvPr id="3" name="Content Placeholder 2">
            <a:extLst>
              <a:ext uri="{FF2B5EF4-FFF2-40B4-BE49-F238E27FC236}">
                <a16:creationId xmlns:a16="http://schemas.microsoft.com/office/drawing/2014/main" id="{F7304700-5445-4C58-B6C5-34A9AEF000C0}"/>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Date Placeholder 3">
            <a:extLst>
              <a:ext uri="{FF2B5EF4-FFF2-40B4-BE49-F238E27FC236}">
                <a16:creationId xmlns:a16="http://schemas.microsoft.com/office/drawing/2014/main" id="{A1A9CBD6-B2EA-4D9C-A02B-B45A08C14A6B}"/>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5" name="Footer Placeholder 4">
            <a:extLst>
              <a:ext uri="{FF2B5EF4-FFF2-40B4-BE49-F238E27FC236}">
                <a16:creationId xmlns:a16="http://schemas.microsoft.com/office/drawing/2014/main" id="{535D0EFC-A16C-4FDC-ACDB-9D4E56EB9418}"/>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3EA2DEDC-A50F-4831-9A5E-3C26DC0A1C7A}"/>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400463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E7DFE-F084-40D8-B6C8-674D1B8C4E00}"/>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endParaRPr lang="en-NL" dirty="0"/>
          </a:p>
        </p:txBody>
      </p:sp>
      <p:sp>
        <p:nvSpPr>
          <p:cNvPr id="4" name="Date Placeholder 3">
            <a:extLst>
              <a:ext uri="{FF2B5EF4-FFF2-40B4-BE49-F238E27FC236}">
                <a16:creationId xmlns:a16="http://schemas.microsoft.com/office/drawing/2014/main" id="{08D06B8E-BF0F-4032-B72E-6307AF172F06}"/>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5" name="Footer Placeholder 4">
            <a:extLst>
              <a:ext uri="{FF2B5EF4-FFF2-40B4-BE49-F238E27FC236}">
                <a16:creationId xmlns:a16="http://schemas.microsoft.com/office/drawing/2014/main" id="{83E7BE0B-00E7-47A7-9F57-E9E838527EDF}"/>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2591B46-4551-4DD4-9726-8CE5D53F3204}"/>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263392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9584E-8BDD-4756-80D4-2CE632193D85}"/>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DC9D8D2C-B27B-4ABC-9C39-41965271FC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Content Placeholder 3">
            <a:extLst>
              <a:ext uri="{FF2B5EF4-FFF2-40B4-BE49-F238E27FC236}">
                <a16:creationId xmlns:a16="http://schemas.microsoft.com/office/drawing/2014/main" id="{B8F5DDF6-C529-42A7-B553-517FCBBF71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Date Placeholder 4">
            <a:extLst>
              <a:ext uri="{FF2B5EF4-FFF2-40B4-BE49-F238E27FC236}">
                <a16:creationId xmlns:a16="http://schemas.microsoft.com/office/drawing/2014/main" id="{9B405F5D-04AD-4599-B46C-155DD392F186}"/>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6" name="Footer Placeholder 5">
            <a:extLst>
              <a:ext uri="{FF2B5EF4-FFF2-40B4-BE49-F238E27FC236}">
                <a16:creationId xmlns:a16="http://schemas.microsoft.com/office/drawing/2014/main" id="{B34B5E8B-D0FF-40C0-97B4-867DF17180A1}"/>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9CC94DA0-DECA-41E4-B80B-938771EA9031}"/>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383564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23430-FF43-48DF-A2E9-E7103A7058B7}"/>
              </a:ext>
            </a:extLst>
          </p:cNvPr>
          <p:cNvSpPr>
            <a:spLocks noGrp="1"/>
          </p:cNvSpPr>
          <p:nvPr>
            <p:ph type="title"/>
          </p:nvPr>
        </p:nvSpPr>
        <p:spPr>
          <a:xfrm>
            <a:off x="839788" y="365125"/>
            <a:ext cx="10515600" cy="1325563"/>
          </a:xfrm>
        </p:spPr>
        <p:txBody>
          <a:bodyPr/>
          <a:lstStyle/>
          <a:p>
            <a:r>
              <a:rPr lang="en-US"/>
              <a:t>Click to edit Master title style</a:t>
            </a:r>
            <a:endParaRPr lang="en-NL"/>
          </a:p>
        </p:txBody>
      </p:sp>
      <p:sp>
        <p:nvSpPr>
          <p:cNvPr id="3" name="Text Placeholder 2">
            <a:extLst>
              <a:ext uri="{FF2B5EF4-FFF2-40B4-BE49-F238E27FC236}">
                <a16:creationId xmlns:a16="http://schemas.microsoft.com/office/drawing/2014/main" id="{7DEF6292-D563-4F85-B2CC-056649DB348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1294F4-5C2E-4083-9C13-AB7B62AFC14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Text Placeholder 4">
            <a:extLst>
              <a:ext uri="{FF2B5EF4-FFF2-40B4-BE49-F238E27FC236}">
                <a16:creationId xmlns:a16="http://schemas.microsoft.com/office/drawing/2014/main" id="{4BCA8C98-5548-4DA4-A15A-AC97FD8DC0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5E318C-F287-44A3-91C1-1A92A2DA705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7" name="Date Placeholder 6">
            <a:extLst>
              <a:ext uri="{FF2B5EF4-FFF2-40B4-BE49-F238E27FC236}">
                <a16:creationId xmlns:a16="http://schemas.microsoft.com/office/drawing/2014/main" id="{244F8DF5-DEDD-45CC-AD48-9AE52BBA2054}"/>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8" name="Footer Placeholder 7">
            <a:extLst>
              <a:ext uri="{FF2B5EF4-FFF2-40B4-BE49-F238E27FC236}">
                <a16:creationId xmlns:a16="http://schemas.microsoft.com/office/drawing/2014/main" id="{2A570A3C-3513-464C-88D6-444F9E9867FD}"/>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A498AFE8-E065-40B2-8341-10DCE61DA3AF}"/>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151207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9ECEC-3B12-427B-969F-C60B718FD765}"/>
              </a:ext>
            </a:extLst>
          </p:cNvPr>
          <p:cNvSpPr>
            <a:spLocks noGrp="1"/>
          </p:cNvSpPr>
          <p:nvPr>
            <p:ph type="title"/>
          </p:nvPr>
        </p:nvSpPr>
        <p:spPr/>
        <p:txBody>
          <a:bodyPr/>
          <a:lstStyle/>
          <a:p>
            <a:r>
              <a:rPr lang="en-US" dirty="0"/>
              <a:t>Click to edit Master title style</a:t>
            </a:r>
            <a:endParaRPr lang="en-NL" dirty="0"/>
          </a:p>
        </p:txBody>
      </p:sp>
      <p:sp>
        <p:nvSpPr>
          <p:cNvPr id="3" name="Date Placeholder 2">
            <a:extLst>
              <a:ext uri="{FF2B5EF4-FFF2-40B4-BE49-F238E27FC236}">
                <a16:creationId xmlns:a16="http://schemas.microsoft.com/office/drawing/2014/main" id="{5C6E42A9-19E5-4624-AF61-EBD730A192F7}"/>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4" name="Footer Placeholder 3">
            <a:extLst>
              <a:ext uri="{FF2B5EF4-FFF2-40B4-BE49-F238E27FC236}">
                <a16:creationId xmlns:a16="http://schemas.microsoft.com/office/drawing/2014/main" id="{59E2DA4E-7B7F-4A07-86F3-5B7E7F1BD2B5}"/>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6AEB592C-D0E2-4F38-81AC-4E1EEBC2F1C7}"/>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371721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8DC95B-5C86-4F9E-ACE4-860A8B23BF11}"/>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3" name="Footer Placeholder 2">
            <a:extLst>
              <a:ext uri="{FF2B5EF4-FFF2-40B4-BE49-F238E27FC236}">
                <a16:creationId xmlns:a16="http://schemas.microsoft.com/office/drawing/2014/main" id="{D6E2A4F4-A7DA-4180-A948-F1383AC1ECF7}"/>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2584E352-9625-4FD4-88F7-8E024D345E86}"/>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2150234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27C6E-2596-4980-801D-4CDA0760F9FA}"/>
              </a:ext>
            </a:extLst>
          </p:cNvPr>
          <p:cNvSpPr>
            <a:spLocks noGrp="1"/>
          </p:cNvSpPr>
          <p:nvPr>
            <p:ph type="title"/>
          </p:nvPr>
        </p:nvSpPr>
        <p:spPr>
          <a:xfrm>
            <a:off x="839788" y="457200"/>
            <a:ext cx="3932237" cy="1600200"/>
          </a:xfrm>
        </p:spPr>
        <p:txBody>
          <a:bodyPr anchor="b">
            <a:normAutofit/>
          </a:bodyPr>
          <a:lstStyle>
            <a:lvl1pPr>
              <a:defRPr lang="en-NL" sz="2800" kern="1200" dirty="0">
                <a:solidFill>
                  <a:schemeClr val="bg1"/>
                </a:solidFill>
                <a:latin typeface="+mj-lt"/>
                <a:ea typeface="+mj-ea"/>
                <a:cs typeface="+mj-cs"/>
              </a:defRPr>
            </a:lvl1pPr>
          </a:lstStyle>
          <a:p>
            <a:r>
              <a:rPr lang="en-US" dirty="0"/>
              <a:t>Click to edit Master title style</a:t>
            </a:r>
            <a:endParaRPr lang="en-NL" dirty="0"/>
          </a:p>
        </p:txBody>
      </p:sp>
      <p:sp>
        <p:nvSpPr>
          <p:cNvPr id="3" name="Content Placeholder 2">
            <a:extLst>
              <a:ext uri="{FF2B5EF4-FFF2-40B4-BE49-F238E27FC236}">
                <a16:creationId xmlns:a16="http://schemas.microsoft.com/office/drawing/2014/main" id="{72F0A240-EA0B-4EAC-A1ED-C6D98FD976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Text Placeholder 3">
            <a:extLst>
              <a:ext uri="{FF2B5EF4-FFF2-40B4-BE49-F238E27FC236}">
                <a16:creationId xmlns:a16="http://schemas.microsoft.com/office/drawing/2014/main" id="{4BEEAD39-1E5D-42F1-9147-DEB2C8056FCE}"/>
              </a:ext>
            </a:extLst>
          </p:cNvPr>
          <p:cNvSpPr>
            <a:spLocks noGrp="1"/>
          </p:cNvSpPr>
          <p:nvPr>
            <p:ph type="body" sz="half" idx="2"/>
          </p:nvPr>
        </p:nvSpPr>
        <p:spPr>
          <a:xfrm>
            <a:off x="839788" y="2057400"/>
            <a:ext cx="3932237" cy="3811588"/>
          </a:xfrm>
        </p:spPr>
        <p:txBody>
          <a:bodyPr>
            <a:normAutofit/>
          </a:bodyPr>
          <a:lstStyle>
            <a:lvl1pPr marL="0" indent="0">
              <a:buNone/>
              <a:defRPr lang="en-US" dirty="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4BE4B16B-51B6-415D-A454-7BC8A360A39F}"/>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6" name="Footer Placeholder 5">
            <a:extLst>
              <a:ext uri="{FF2B5EF4-FFF2-40B4-BE49-F238E27FC236}">
                <a16:creationId xmlns:a16="http://schemas.microsoft.com/office/drawing/2014/main" id="{5B0BB79D-5D5A-4F4F-A410-8E42F9D0D949}"/>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5D9FAF42-01AA-4934-A765-D576E8CD173D}"/>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2680725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E2757-3BE4-4DB7-9156-9E97D50A37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L"/>
          </a:p>
        </p:txBody>
      </p:sp>
      <p:sp>
        <p:nvSpPr>
          <p:cNvPr id="3" name="Picture Placeholder 2">
            <a:extLst>
              <a:ext uri="{FF2B5EF4-FFF2-40B4-BE49-F238E27FC236}">
                <a16:creationId xmlns:a16="http://schemas.microsoft.com/office/drawing/2014/main" id="{14864B31-42E3-4363-AEAF-0B120997BF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1B6E55C2-2A68-4DE8-94DF-75EB3D8FC6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4F023E0C-4446-4F6D-82DD-41CF8E7E7511}"/>
              </a:ext>
            </a:extLst>
          </p:cNvPr>
          <p:cNvSpPr>
            <a:spLocks noGrp="1"/>
          </p:cNvSpPr>
          <p:nvPr>
            <p:ph type="dt" sz="half" idx="10"/>
          </p:nvPr>
        </p:nvSpPr>
        <p:spPr/>
        <p:txBody>
          <a:bodyPr/>
          <a:lstStyle/>
          <a:p>
            <a:fld id="{D61E2CAE-0AF7-43DC-968F-45E6B956AA4B}" type="datetimeFigureOut">
              <a:rPr lang="en-NL" smtClean="0"/>
              <a:t>29/09/2020</a:t>
            </a:fld>
            <a:endParaRPr lang="en-NL"/>
          </a:p>
        </p:txBody>
      </p:sp>
      <p:sp>
        <p:nvSpPr>
          <p:cNvPr id="6" name="Footer Placeholder 5">
            <a:extLst>
              <a:ext uri="{FF2B5EF4-FFF2-40B4-BE49-F238E27FC236}">
                <a16:creationId xmlns:a16="http://schemas.microsoft.com/office/drawing/2014/main" id="{B97509FF-C794-486A-B998-87F2C0830E4E}"/>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7422FFF7-BF6C-4711-843B-4BB5EB23C226}"/>
              </a:ext>
            </a:extLst>
          </p:cNvPr>
          <p:cNvSpPr>
            <a:spLocks noGrp="1"/>
          </p:cNvSpPr>
          <p:nvPr>
            <p:ph type="sldNum" sz="quarter" idx="12"/>
          </p:nvPr>
        </p:nvSpPr>
        <p:spPr>
          <a:xfrm>
            <a:off x="9327417" y="6356350"/>
            <a:ext cx="2743200" cy="365125"/>
          </a:xfrm>
          <a:prstGeom prst="rect">
            <a:avLst/>
          </a:prstGeom>
        </p:spPr>
        <p:txBody>
          <a:bodyPr/>
          <a:lstStyle/>
          <a:p>
            <a:fld id="{1AFA01CA-FA0E-4054-8554-0A84DEE08BA8}" type="slidenum">
              <a:rPr lang="en-NL" smtClean="0"/>
              <a:t>‹#›</a:t>
            </a:fld>
            <a:endParaRPr lang="en-NL"/>
          </a:p>
        </p:txBody>
      </p:sp>
    </p:spTree>
    <p:extLst>
      <p:ext uri="{BB962C8B-B14F-4D97-AF65-F5344CB8AC3E}">
        <p14:creationId xmlns:p14="http://schemas.microsoft.com/office/powerpoint/2010/main" val="305953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t="-9000" b="-9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402C9B-80E2-4CC6-BCCB-09773E94317A}"/>
              </a:ext>
            </a:extLst>
          </p:cNvPr>
          <p:cNvSpPr>
            <a:spLocks noGrp="1"/>
          </p:cNvSpPr>
          <p:nvPr>
            <p:ph type="title"/>
          </p:nvPr>
        </p:nvSpPr>
        <p:spPr>
          <a:xfrm>
            <a:off x="252723" y="78115"/>
            <a:ext cx="11817893" cy="964943"/>
          </a:xfrm>
          <a:prstGeom prst="rect">
            <a:avLst/>
          </a:prstGeom>
        </p:spPr>
        <p:txBody>
          <a:bodyPr vert="horz" lIns="91440" tIns="45720" rIns="91440" bIns="45720" rtlCol="0" anchor="ctr">
            <a:normAutofit/>
          </a:bodyPr>
          <a:lstStyle/>
          <a:p>
            <a:r>
              <a:rPr lang="en-US" dirty="0"/>
              <a:t>Click to edit Master title style</a:t>
            </a:r>
            <a:endParaRPr lang="en-NL" dirty="0"/>
          </a:p>
        </p:txBody>
      </p:sp>
      <p:sp>
        <p:nvSpPr>
          <p:cNvPr id="3" name="Text Placeholder 2">
            <a:extLst>
              <a:ext uri="{FF2B5EF4-FFF2-40B4-BE49-F238E27FC236}">
                <a16:creationId xmlns:a16="http://schemas.microsoft.com/office/drawing/2014/main" id="{76D68C14-B504-4A27-956E-722C2041F8A8}"/>
              </a:ext>
            </a:extLst>
          </p:cNvPr>
          <p:cNvSpPr>
            <a:spLocks noGrp="1"/>
          </p:cNvSpPr>
          <p:nvPr>
            <p:ph type="body" idx="1"/>
          </p:nvPr>
        </p:nvSpPr>
        <p:spPr>
          <a:xfrm>
            <a:off x="252723" y="1098198"/>
            <a:ext cx="11817893" cy="507876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L" dirty="0"/>
          </a:p>
        </p:txBody>
      </p:sp>
      <p:sp>
        <p:nvSpPr>
          <p:cNvPr id="4" name="Date Placeholder 3">
            <a:extLst>
              <a:ext uri="{FF2B5EF4-FFF2-40B4-BE49-F238E27FC236}">
                <a16:creationId xmlns:a16="http://schemas.microsoft.com/office/drawing/2014/main" id="{B1863A8A-55E2-4A4B-B99C-26BD58DFE9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1E2CAE-0AF7-43DC-968F-45E6B956AA4B}" type="datetimeFigureOut">
              <a:rPr lang="en-NL" smtClean="0"/>
              <a:t>29/09/2020</a:t>
            </a:fld>
            <a:endParaRPr lang="en-NL"/>
          </a:p>
        </p:txBody>
      </p:sp>
      <p:sp>
        <p:nvSpPr>
          <p:cNvPr id="5" name="Footer Placeholder 4">
            <a:extLst>
              <a:ext uri="{FF2B5EF4-FFF2-40B4-BE49-F238E27FC236}">
                <a16:creationId xmlns:a16="http://schemas.microsoft.com/office/drawing/2014/main" id="{0A1120F9-0192-438A-9802-34696E7C7D0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7" name="TextBox 6">
            <a:extLst>
              <a:ext uri="{FF2B5EF4-FFF2-40B4-BE49-F238E27FC236}">
                <a16:creationId xmlns:a16="http://schemas.microsoft.com/office/drawing/2014/main" id="{A3A6A843-5F1C-49C9-9055-DB84A574AFAA}"/>
              </a:ext>
            </a:extLst>
          </p:cNvPr>
          <p:cNvSpPr txBox="1"/>
          <p:nvPr userDrawn="1"/>
        </p:nvSpPr>
        <p:spPr>
          <a:xfrm>
            <a:off x="10978534" y="6408107"/>
            <a:ext cx="1103187" cy="261610"/>
          </a:xfrm>
          <a:prstGeom prst="rect">
            <a:avLst/>
          </a:prstGeom>
          <a:noFill/>
        </p:spPr>
        <p:txBody>
          <a:bodyPr wrap="none" rtlCol="0">
            <a:spAutoFit/>
          </a:bodyPr>
          <a:lstStyle/>
          <a:p>
            <a:r>
              <a:rPr lang="en-US" sz="1100" dirty="0">
                <a:solidFill>
                  <a:schemeClr val="accent3"/>
                </a:solidFill>
              </a:rPr>
              <a:t>@</a:t>
            </a:r>
            <a:r>
              <a:rPr lang="en-US" sz="1100" dirty="0" err="1">
                <a:solidFill>
                  <a:schemeClr val="accent3"/>
                </a:solidFill>
              </a:rPr>
              <a:t>egrootenboer</a:t>
            </a:r>
            <a:endParaRPr lang="en-NL" sz="1100" dirty="0">
              <a:solidFill>
                <a:schemeClr val="accent3"/>
              </a:solidFill>
            </a:endParaRPr>
          </a:p>
        </p:txBody>
      </p:sp>
    </p:spTree>
    <p:extLst>
      <p:ext uri="{BB962C8B-B14F-4D97-AF65-F5344CB8AC3E}">
        <p14:creationId xmlns:p14="http://schemas.microsoft.com/office/powerpoint/2010/main" val="28781076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5" r:id="rId13"/>
    <p:sldLayoutId id="2147483677" r:id="rId14"/>
    <p:sldLayoutId id="2147483683"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440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40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36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32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3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3" Type="http://schemas.openxmlformats.org/officeDocument/2006/relationships/image" Target="../media/image47.tiff"/><Relationship Id="rId18" Type="http://schemas.openxmlformats.org/officeDocument/2006/relationships/image" Target="../media/image52.tiff"/><Relationship Id="rId26" Type="http://schemas.openxmlformats.org/officeDocument/2006/relationships/image" Target="../media/image60.tiff"/><Relationship Id="rId39" Type="http://schemas.openxmlformats.org/officeDocument/2006/relationships/image" Target="../media/image73.tiff"/><Relationship Id="rId21" Type="http://schemas.openxmlformats.org/officeDocument/2006/relationships/image" Target="../media/image55.tiff"/><Relationship Id="rId34" Type="http://schemas.openxmlformats.org/officeDocument/2006/relationships/image" Target="../media/image68.tiff"/><Relationship Id="rId42" Type="http://schemas.openxmlformats.org/officeDocument/2006/relationships/image" Target="../media/image76.tiff"/><Relationship Id="rId47" Type="http://schemas.openxmlformats.org/officeDocument/2006/relationships/image" Target="../media/image81.png"/><Relationship Id="rId7" Type="http://schemas.openxmlformats.org/officeDocument/2006/relationships/image" Target="../media/image41.tiff"/><Relationship Id="rId2" Type="http://schemas.openxmlformats.org/officeDocument/2006/relationships/tags" Target="../tags/tag3.xml"/><Relationship Id="rId16" Type="http://schemas.openxmlformats.org/officeDocument/2006/relationships/image" Target="../media/image50.tiff"/><Relationship Id="rId29" Type="http://schemas.openxmlformats.org/officeDocument/2006/relationships/image" Target="../media/image63.tiff"/><Relationship Id="rId1" Type="http://schemas.openxmlformats.org/officeDocument/2006/relationships/vmlDrawing" Target="../drawings/vmlDrawing2.vml"/><Relationship Id="rId6" Type="http://schemas.openxmlformats.org/officeDocument/2006/relationships/image" Target="../media/image40.emf"/><Relationship Id="rId11" Type="http://schemas.openxmlformats.org/officeDocument/2006/relationships/image" Target="../media/image45.tiff"/><Relationship Id="rId24" Type="http://schemas.openxmlformats.org/officeDocument/2006/relationships/image" Target="../media/image58.tiff"/><Relationship Id="rId32" Type="http://schemas.openxmlformats.org/officeDocument/2006/relationships/image" Target="../media/image66.tiff"/><Relationship Id="rId37" Type="http://schemas.openxmlformats.org/officeDocument/2006/relationships/image" Target="../media/image71.tiff"/><Relationship Id="rId40" Type="http://schemas.openxmlformats.org/officeDocument/2006/relationships/image" Target="../media/image74.tiff"/><Relationship Id="rId45" Type="http://schemas.openxmlformats.org/officeDocument/2006/relationships/image" Target="../media/image79.tiff"/><Relationship Id="rId5" Type="http://schemas.openxmlformats.org/officeDocument/2006/relationships/oleObject" Target="../embeddings/oleObject2.bin"/><Relationship Id="rId15" Type="http://schemas.openxmlformats.org/officeDocument/2006/relationships/image" Target="../media/image49.tiff"/><Relationship Id="rId23" Type="http://schemas.openxmlformats.org/officeDocument/2006/relationships/image" Target="../media/image57.tiff"/><Relationship Id="rId28" Type="http://schemas.openxmlformats.org/officeDocument/2006/relationships/image" Target="../media/image62.tiff"/><Relationship Id="rId36" Type="http://schemas.openxmlformats.org/officeDocument/2006/relationships/image" Target="../media/image70.tiff"/><Relationship Id="rId10" Type="http://schemas.openxmlformats.org/officeDocument/2006/relationships/image" Target="../media/image44.tiff"/><Relationship Id="rId19" Type="http://schemas.openxmlformats.org/officeDocument/2006/relationships/image" Target="../media/image53.tiff"/><Relationship Id="rId31" Type="http://schemas.openxmlformats.org/officeDocument/2006/relationships/image" Target="../media/image65.tiff"/><Relationship Id="rId44" Type="http://schemas.openxmlformats.org/officeDocument/2006/relationships/image" Target="../media/image78.tiff"/><Relationship Id="rId4" Type="http://schemas.openxmlformats.org/officeDocument/2006/relationships/notesSlide" Target="../notesSlides/notesSlide12.xml"/><Relationship Id="rId9" Type="http://schemas.openxmlformats.org/officeDocument/2006/relationships/image" Target="../media/image43.tiff"/><Relationship Id="rId14" Type="http://schemas.openxmlformats.org/officeDocument/2006/relationships/image" Target="../media/image48.tiff"/><Relationship Id="rId22" Type="http://schemas.openxmlformats.org/officeDocument/2006/relationships/image" Target="../media/image56.tiff"/><Relationship Id="rId27" Type="http://schemas.openxmlformats.org/officeDocument/2006/relationships/image" Target="../media/image61.tiff"/><Relationship Id="rId30" Type="http://schemas.openxmlformats.org/officeDocument/2006/relationships/image" Target="../media/image64.tiff"/><Relationship Id="rId35" Type="http://schemas.openxmlformats.org/officeDocument/2006/relationships/image" Target="../media/image69.tiff"/><Relationship Id="rId43" Type="http://schemas.openxmlformats.org/officeDocument/2006/relationships/image" Target="../media/image77.tiff"/><Relationship Id="rId8" Type="http://schemas.openxmlformats.org/officeDocument/2006/relationships/image" Target="../media/image42.tiff"/><Relationship Id="rId3" Type="http://schemas.openxmlformats.org/officeDocument/2006/relationships/slideLayout" Target="../slideLayouts/slideLayout2.xml"/><Relationship Id="rId12" Type="http://schemas.openxmlformats.org/officeDocument/2006/relationships/image" Target="../media/image46.tiff"/><Relationship Id="rId17" Type="http://schemas.openxmlformats.org/officeDocument/2006/relationships/image" Target="../media/image51.tiff"/><Relationship Id="rId25" Type="http://schemas.openxmlformats.org/officeDocument/2006/relationships/image" Target="../media/image59.tiff"/><Relationship Id="rId33" Type="http://schemas.openxmlformats.org/officeDocument/2006/relationships/image" Target="../media/image67.tiff"/><Relationship Id="rId38" Type="http://schemas.openxmlformats.org/officeDocument/2006/relationships/image" Target="../media/image72.tiff"/><Relationship Id="rId46" Type="http://schemas.openxmlformats.org/officeDocument/2006/relationships/image" Target="../media/image80.tiff"/><Relationship Id="rId20" Type="http://schemas.openxmlformats.org/officeDocument/2006/relationships/image" Target="../media/image54.tiff"/><Relationship Id="rId41" Type="http://schemas.openxmlformats.org/officeDocument/2006/relationships/image" Target="../media/image75.tiff"/></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image" Target="../media/image86.svg"/><Relationship Id="rId5" Type="http://schemas.openxmlformats.org/officeDocument/2006/relationships/diagramQuickStyle" Target="../diagrams/quickStyle3.xml"/><Relationship Id="rId10" Type="http://schemas.openxmlformats.org/officeDocument/2006/relationships/image" Target="../media/image85.png"/><Relationship Id="rId4" Type="http://schemas.openxmlformats.org/officeDocument/2006/relationships/diagramLayout" Target="../diagrams/layout3.xml"/><Relationship Id="rId9" Type="http://schemas.openxmlformats.org/officeDocument/2006/relationships/image" Target="../media/image84.svg"/></Relationships>
</file>

<file path=ppt/slides/_rels/slide2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8.gi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0.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tags" Target="../tags/tag7.xml"/><Relationship Id="rId7" Type="http://schemas.openxmlformats.org/officeDocument/2006/relationships/image" Target="../media/image40.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8.xml"/><Relationship Id="rId4" Type="http://schemas.openxmlformats.org/officeDocument/2006/relationships/slideLayout" Target="../slideLayouts/slideLayout2.xml"/><Relationship Id="rId9"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aka.ms/rpaBuild2020"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powervirtualagents.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99.png"/><Relationship Id="rId4" Type="http://schemas.openxmlformats.org/officeDocument/2006/relationships/image" Target="../media/image98.png"/></Relationships>
</file>

<file path=ppt/slides/_rels/slide35.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8" Type="http://schemas.openxmlformats.org/officeDocument/2006/relationships/image" Target="../media/image107.tiff"/><Relationship Id="rId3" Type="http://schemas.openxmlformats.org/officeDocument/2006/relationships/image" Target="../media/image102.jpg"/><Relationship Id="rId7" Type="http://schemas.openxmlformats.org/officeDocument/2006/relationships/image" Target="../media/image106.tif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05.tiff"/><Relationship Id="rId5" Type="http://schemas.openxmlformats.org/officeDocument/2006/relationships/image" Target="../media/image104.tiff"/><Relationship Id="rId4" Type="http://schemas.openxmlformats.org/officeDocument/2006/relationships/image" Target="../media/image103.tiff"/><Relationship Id="rId9" Type="http://schemas.openxmlformats.org/officeDocument/2006/relationships/image" Target="../media/image108.tiff"/></Relationships>
</file>

<file path=ppt/slides/_rels/slide3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1.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7000" b="-27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9ADE5B-55E9-485D-8E7E-BB3EA9D2B065}"/>
              </a:ext>
            </a:extLst>
          </p:cNvPr>
          <p:cNvPicPr>
            <a:picLocks noChangeAspect="1"/>
          </p:cNvPicPr>
          <p:nvPr/>
        </p:nvPicPr>
        <p:blipFill>
          <a:blip r:embed="rId4"/>
          <a:stretch>
            <a:fillRect/>
          </a:stretch>
        </p:blipFill>
        <p:spPr>
          <a:xfrm>
            <a:off x="161928" y="6310865"/>
            <a:ext cx="2010599" cy="398877"/>
          </a:xfrm>
          <a:prstGeom prst="rect">
            <a:avLst/>
          </a:prstGeom>
        </p:spPr>
      </p:pic>
      <p:sp>
        <p:nvSpPr>
          <p:cNvPr id="7" name="Title 2"/>
          <p:cNvSpPr>
            <a:spLocks noGrp="1"/>
          </p:cNvSpPr>
          <p:nvPr>
            <p:ph type="ctrTitle"/>
          </p:nvPr>
        </p:nvSpPr>
        <p:spPr>
          <a:xfrm>
            <a:off x="1792770" y="148258"/>
            <a:ext cx="9142703" cy="888062"/>
          </a:xfrm>
        </p:spPr>
        <p:txBody>
          <a:bodyPr>
            <a:noAutofit/>
          </a:bodyPr>
          <a:lstStyle/>
          <a:p>
            <a:r>
              <a:rPr kumimoji="0" lang="en-US" sz="2800" b="0" i="0" u="none" strike="noStrike" kern="1200" cap="none" spc="-100" normalizeH="0" baseline="0" noProof="0" dirty="0">
                <a:ln w="3175">
                  <a:noFill/>
                </a:ln>
                <a:solidFill>
                  <a:prstClr val="white"/>
                </a:solidFill>
                <a:effectLst/>
                <a:uLnTx/>
                <a:uFillTx/>
                <a:latin typeface="Segoe UI Black" panose="020B0A02040204020203" pitchFamily="34" charset="0"/>
                <a:ea typeface="Segoe UI Black" panose="020B0A02040204020203" pitchFamily="34" charset="0"/>
              </a:rPr>
              <a:t>Take back your time!</a:t>
            </a:r>
            <a:br>
              <a:rPr kumimoji="0" lang="en-US" sz="2800" b="0" i="0" u="none" strike="noStrike" kern="1200" cap="none" spc="-100" normalizeH="0" baseline="0" noProof="0" dirty="0">
                <a:ln w="3175">
                  <a:noFill/>
                </a:ln>
                <a:solidFill>
                  <a:prstClr val="white"/>
                </a:solidFill>
                <a:effectLst/>
                <a:uLnTx/>
                <a:uFillTx/>
                <a:latin typeface="Segoe UI Black" panose="020B0A02040204020203" pitchFamily="34" charset="0"/>
                <a:ea typeface="Segoe UI Black" panose="020B0A02040204020203" pitchFamily="34" charset="0"/>
              </a:rPr>
            </a:br>
            <a:r>
              <a:rPr kumimoji="0" lang="en-US" sz="2000" b="0" i="0" u="none" strike="noStrike" kern="1200" cap="none" spc="-100" normalizeH="0" baseline="0" noProof="0" dirty="0">
                <a:ln w="3175">
                  <a:noFill/>
                </a:ln>
                <a:solidFill>
                  <a:prstClr val="white"/>
                </a:solidFill>
                <a:effectLst/>
                <a:uLnTx/>
                <a:uFillTx/>
                <a:latin typeface="Segoe UI Black" panose="020B0A02040204020203" pitchFamily="34" charset="0"/>
                <a:ea typeface="Segoe UI Black" panose="020B0A02040204020203" pitchFamily="34" charset="0"/>
              </a:rPr>
              <a:t>Let AI do the work for you</a:t>
            </a:r>
            <a:endParaRPr lang="nl-NL" sz="3600" dirty="0"/>
          </a:p>
        </p:txBody>
      </p:sp>
      <p:sp>
        <p:nvSpPr>
          <p:cNvPr id="8" name="Text Placeholder 4"/>
          <p:cNvSpPr>
            <a:spLocks noGrp="1"/>
          </p:cNvSpPr>
          <p:nvPr>
            <p:ph type="subTitle" idx="1"/>
          </p:nvPr>
        </p:nvSpPr>
        <p:spPr>
          <a:xfrm>
            <a:off x="1524648" y="1160131"/>
            <a:ext cx="9142703" cy="641714"/>
          </a:xfrm>
        </p:spPr>
        <p:txBody>
          <a:bodyPr/>
          <a:lstStyle/>
          <a:p>
            <a:r>
              <a:rPr lang="en-US" sz="3300" b="1" i="1" dirty="0">
                <a:latin typeface="Segoe UI Light"/>
              </a:rPr>
              <a:t>Eldert Grootenboer</a:t>
            </a:r>
          </a:p>
        </p:txBody>
      </p:sp>
    </p:spTree>
    <p:extLst>
      <p:ext uri="{BB962C8B-B14F-4D97-AF65-F5344CB8AC3E}">
        <p14:creationId xmlns:p14="http://schemas.microsoft.com/office/powerpoint/2010/main" val="274374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918318-FFB2-4434-8452-2E93A167C7F1}"/>
              </a:ext>
            </a:extLst>
          </p:cNvPr>
          <p:cNvPicPr>
            <a:picLocks noChangeAspect="1"/>
          </p:cNvPicPr>
          <p:nvPr/>
        </p:nvPicPr>
        <p:blipFill>
          <a:blip r:embed="rId2"/>
          <a:stretch>
            <a:fillRect/>
          </a:stretch>
        </p:blipFill>
        <p:spPr>
          <a:xfrm>
            <a:off x="2091343" y="1459059"/>
            <a:ext cx="8009314" cy="3939881"/>
          </a:xfrm>
          <a:prstGeom prst="rect">
            <a:avLst/>
          </a:prstGeom>
        </p:spPr>
      </p:pic>
      <p:sp>
        <p:nvSpPr>
          <p:cNvPr id="2" name="Title 1">
            <a:extLst>
              <a:ext uri="{FF2B5EF4-FFF2-40B4-BE49-F238E27FC236}">
                <a16:creationId xmlns:a16="http://schemas.microsoft.com/office/drawing/2014/main" id="{D93CB8C0-9E84-4690-B23F-45DAC7D6E5D9}"/>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34FBDFE4-91E4-449C-9B88-B440892E8B46}"/>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72868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30625-1C24-49E5-8CD1-40761C64F971}"/>
              </a:ext>
            </a:extLst>
          </p:cNvPr>
          <p:cNvSpPr>
            <a:spLocks noGrp="1"/>
          </p:cNvSpPr>
          <p:nvPr>
            <p:ph type="title"/>
          </p:nvPr>
        </p:nvSpPr>
        <p:spPr>
          <a:noFill/>
        </p:spPr>
        <p:txBody>
          <a:bodyPr vert="horz" wrap="square" lIns="143407" tIns="89630" rIns="143407" bIns="89630" rtlCol="0" anchor="t">
            <a:normAutofit/>
          </a:bodyPr>
          <a:lstStyle/>
          <a:p>
            <a:r>
              <a:rPr lang="en-US" dirty="0">
                <a:solidFill>
                  <a:srgbClr val="742774"/>
                </a:solidFill>
                <a:latin typeface="+mn-lt"/>
              </a:rPr>
              <a:t>PowerApps</a:t>
            </a:r>
            <a:br>
              <a:rPr lang="en-US" dirty="0">
                <a:solidFill>
                  <a:schemeClr val="tx1"/>
                </a:solidFill>
              </a:rPr>
            </a:br>
            <a:r>
              <a:rPr lang="en-US" sz="2700" dirty="0">
                <a:solidFill>
                  <a:schemeClr val="bg2">
                    <a:lumMod val="65000"/>
                  </a:schemeClr>
                </a:solidFill>
                <a:latin typeface="+mn-lt"/>
              </a:rPr>
              <a:t>Rich, WYSIWYG canvas-based authoring</a:t>
            </a:r>
          </a:p>
        </p:txBody>
      </p:sp>
      <p:sp>
        <p:nvSpPr>
          <p:cNvPr id="3" name="Content Placeholder 2">
            <a:extLst>
              <a:ext uri="{FF2B5EF4-FFF2-40B4-BE49-F238E27FC236}">
                <a16:creationId xmlns:a16="http://schemas.microsoft.com/office/drawing/2014/main" id="{52DAB11C-E7AC-4F27-A658-08ACC0FFA380}"/>
              </a:ext>
            </a:extLst>
          </p:cNvPr>
          <p:cNvSpPr>
            <a:spLocks noGrp="1"/>
          </p:cNvSpPr>
          <p:nvPr>
            <p:ph idx="1"/>
          </p:nvPr>
        </p:nvSpPr>
        <p:spPr/>
        <p:txBody>
          <a:bodyPr>
            <a:noAutofit/>
          </a:bodyPr>
          <a:lstStyle/>
          <a:p>
            <a:r>
              <a:rPr lang="en-US" sz="1300" b="1" dirty="0">
                <a:latin typeface="Segoe UI" panose="020B0502040204020203" pitchFamily="34" charset="0"/>
                <a:cs typeface="Segoe UI" panose="020B0502040204020203" pitchFamily="34" charset="0"/>
              </a:rPr>
              <a:t>Rich canvas-based authoring</a:t>
            </a:r>
            <a:br>
              <a:rPr lang="en-US" sz="1300" dirty="0">
                <a:latin typeface="Segoe UI" panose="020B0502040204020203" pitchFamily="34" charset="0"/>
                <a:cs typeface="Segoe UI" panose="020B0502040204020203" pitchFamily="34" charset="0"/>
              </a:rPr>
            </a:br>
            <a:r>
              <a:rPr lang="en-US" sz="1300" dirty="0">
                <a:latin typeface="Segoe UI" panose="020B0502040204020203" pitchFamily="34" charset="0"/>
                <a:cs typeface="Segoe UI" panose="020B0502040204020203" pitchFamily="34" charset="0"/>
              </a:rPr>
              <a:t>Full creative freedom to place controls and craft user experiences with a PowerPoint-like canvas</a:t>
            </a:r>
            <a:endParaRPr lang="en-US" sz="1300" kern="0" spc="-29" dirty="0">
              <a:latin typeface="Segoe UI" panose="020B0502040204020203" pitchFamily="34" charset="0"/>
              <a:cs typeface="Segoe UI" panose="020B0502040204020203" pitchFamily="34" charset="0"/>
            </a:endParaRPr>
          </a:p>
          <a:p>
            <a:r>
              <a:rPr lang="en-US" sz="1300" kern="0" spc="-29" dirty="0">
                <a:latin typeface="Segoe UI" panose="020B0502040204020203" pitchFamily="34" charset="0"/>
                <a:cs typeface="Segoe UI" panose="020B0502040204020203" pitchFamily="34" charset="0"/>
              </a:rPr>
              <a:t>Ability to c</a:t>
            </a:r>
            <a:r>
              <a:rPr lang="en-US" sz="1300" kern="0" spc="-29" dirty="0">
                <a:latin typeface="Segoe UI"/>
                <a:cs typeface="Segoe UI Semibold" panose="020B0702040204020203" pitchFamily="34" charset="0"/>
              </a:rPr>
              <a:t>reate app logic with familiar Excel-like expressions and to mash up data from multiple sources right at the app level</a:t>
            </a:r>
          </a:p>
          <a:p>
            <a:r>
              <a:rPr lang="en-US" sz="1300" b="1" dirty="0">
                <a:latin typeface="Segoe UI" panose="020B0502040204020203" pitchFamily="34" charset="0"/>
                <a:cs typeface="Segoe UI" panose="020B0502040204020203" pitchFamily="34" charset="0"/>
              </a:rPr>
              <a:t>“True WYSIWYG”: use the app while building it </a:t>
            </a:r>
            <a:br>
              <a:rPr lang="en-US" sz="1300" dirty="0">
                <a:latin typeface="Segoe UI" panose="020B0502040204020203" pitchFamily="34" charset="0"/>
                <a:cs typeface="Segoe UI" panose="020B0502040204020203" pitchFamily="34" charset="0"/>
              </a:rPr>
            </a:br>
            <a:r>
              <a:rPr lang="en-US" sz="1300" dirty="0">
                <a:latin typeface="Segoe UI" panose="020B0502040204020203" pitchFamily="34" charset="0"/>
                <a:cs typeface="Segoe UI" panose="020B0502040204020203" pitchFamily="34" charset="0"/>
              </a:rPr>
              <a:t>Creators work with live data and can directly use the app as they work, getting instant feedback</a:t>
            </a:r>
            <a:endParaRPr lang="en-US" sz="1300" b="1" dirty="0">
              <a:latin typeface="Segoe UI" panose="020B0502040204020203" pitchFamily="34" charset="0"/>
              <a:cs typeface="Segoe UI" panose="020B0502040204020203" pitchFamily="34" charset="0"/>
            </a:endParaRPr>
          </a:p>
          <a:p>
            <a:r>
              <a:rPr lang="en-US" sz="1300" b="1" dirty="0">
                <a:latin typeface="Segoe UI" panose="020B0502040204020203" pitchFamily="34" charset="0"/>
                <a:cs typeface="Segoe UI" panose="020B0502040204020203" pitchFamily="34" charset="0"/>
              </a:rPr>
              <a:t>Template apps for phone, tablet, and web</a:t>
            </a:r>
            <a:br>
              <a:rPr lang="en-US" sz="1300" dirty="0">
                <a:latin typeface="Segoe UI" panose="020B0502040204020203" pitchFamily="34" charset="0"/>
                <a:cs typeface="Segoe UI" panose="020B0502040204020203" pitchFamily="34" charset="0"/>
              </a:rPr>
            </a:br>
            <a:r>
              <a:rPr lang="en-US" sz="1300" dirty="0">
                <a:latin typeface="Segoe UI" panose="020B0502040204020203" pitchFamily="34" charset="0"/>
                <a:cs typeface="Segoe UI" panose="020B0502040204020203" pitchFamily="34" charset="0"/>
              </a:rPr>
              <a:t>Pre-built apps covering common business development scenarios across devices and form factors</a:t>
            </a:r>
          </a:p>
          <a:p>
            <a:pPr defTabSz="914049">
              <a:defRPr/>
            </a:pPr>
            <a:r>
              <a:rPr lang="en-US" sz="1300" b="1" dirty="0">
                <a:solidFill>
                  <a:srgbClr val="353535"/>
                </a:solidFill>
                <a:latin typeface="Segoe UI" panose="020B0502040204020203" pitchFamily="34" charset="0"/>
                <a:ea typeface="Arial Unicode MS" pitchFamily="34" charset="-128"/>
                <a:cs typeface="Segoe UI" panose="020B0502040204020203" pitchFamily="34" charset="0"/>
              </a:rPr>
              <a:t>Create apps around forms and processes</a:t>
            </a:r>
            <a:br>
              <a:rPr lang="en-US" sz="1300" b="1" dirty="0">
                <a:solidFill>
                  <a:srgbClr val="353535"/>
                </a:solidFill>
                <a:latin typeface="Segoe UI" panose="020B0502040204020203" pitchFamily="34" charset="0"/>
                <a:ea typeface="Arial Unicode MS" pitchFamily="34" charset="-128"/>
                <a:cs typeface="Segoe UI" panose="020B0502040204020203" pitchFamily="34" charset="0"/>
              </a:rPr>
            </a:br>
            <a:r>
              <a:rPr lang="en-US" sz="1300" dirty="0">
                <a:solidFill>
                  <a:srgbClr val="353535"/>
                </a:solidFill>
                <a:latin typeface="Segoe UI" panose="020B0502040204020203" pitchFamily="34" charset="0"/>
                <a:ea typeface="Arial Unicode MS" pitchFamily="34" charset="-128"/>
                <a:cs typeface="Segoe UI" panose="020B0502040204020203" pitchFamily="34" charset="0"/>
              </a:rPr>
              <a:t>Model Driven apps allow fully metadata driven applications revolving around forms and business processes </a:t>
            </a:r>
            <a:endParaRPr lang="en-US" sz="1300" b="1" dirty="0">
              <a:solidFill>
                <a:srgbClr val="353535"/>
              </a:solidFill>
              <a:latin typeface="Segoe UI" panose="020B0502040204020203" pitchFamily="34" charset="0"/>
              <a:ea typeface="Arial Unicode MS" pitchFamily="34" charset="-128"/>
              <a:cs typeface="Segoe UI" panose="020B0502040204020203" pitchFamily="34" charset="0"/>
            </a:endParaRPr>
          </a:p>
          <a:p>
            <a:pPr defTabSz="914049">
              <a:defRPr/>
            </a:pPr>
            <a:r>
              <a:rPr lang="en-US" sz="1300" b="1" dirty="0">
                <a:solidFill>
                  <a:srgbClr val="353535"/>
                </a:solidFill>
                <a:latin typeface="Segoe UI" panose="020B0502040204020203" pitchFamily="34" charset="0"/>
                <a:ea typeface="Arial Unicode MS" pitchFamily="34" charset="-128"/>
                <a:cs typeface="Segoe UI" panose="020B0502040204020203" pitchFamily="34" charset="0"/>
              </a:rPr>
              <a:t>Design sophisticated entity forms quickly</a:t>
            </a:r>
            <a:br>
              <a:rPr lang="en-US" sz="1300" b="1" dirty="0">
                <a:solidFill>
                  <a:srgbClr val="353535"/>
                </a:solidFill>
                <a:latin typeface="Segoe UI" panose="020B0502040204020203" pitchFamily="34" charset="0"/>
                <a:ea typeface="Arial Unicode MS" pitchFamily="34" charset="-128"/>
                <a:cs typeface="Segoe UI" panose="020B0502040204020203" pitchFamily="34" charset="0"/>
              </a:rPr>
            </a:br>
            <a:r>
              <a:rPr lang="en-US" sz="1300" dirty="0">
                <a:solidFill>
                  <a:srgbClr val="353535"/>
                </a:solidFill>
                <a:latin typeface="Segoe UI" panose="020B0502040204020203" pitchFamily="34" charset="0"/>
                <a:ea typeface="Arial Unicode MS" pitchFamily="34" charset="-128"/>
                <a:cs typeface="Segoe UI" panose="020B0502040204020203" pitchFamily="34" charset="0"/>
              </a:rPr>
              <a:t>Drag and drop fields and controls in a visual designer. Forms can span multiple columns, multiple steps, and collapsible sections. </a:t>
            </a:r>
          </a:p>
          <a:p>
            <a:pPr defTabSz="913874">
              <a:defRPr/>
            </a:pPr>
            <a:r>
              <a:rPr lang="en-IN" sz="1300" b="1" kern="0" dirty="0">
                <a:solidFill>
                  <a:srgbClr val="353535"/>
                </a:solidFill>
                <a:latin typeface="Segoe UI"/>
                <a:ea typeface="Arial Unicode MS" pitchFamily="34" charset="-128"/>
              </a:rPr>
              <a:t>Rich, responsive client experiences </a:t>
            </a:r>
            <a:br>
              <a:rPr lang="en-IN" sz="1300" b="1" kern="0" dirty="0">
                <a:solidFill>
                  <a:srgbClr val="353535"/>
                </a:solidFill>
                <a:latin typeface="Segoe UI"/>
                <a:ea typeface="Arial Unicode MS" pitchFamily="34" charset="-128"/>
              </a:rPr>
            </a:br>
            <a:r>
              <a:rPr lang="en-IN" sz="1300" dirty="0">
                <a:solidFill>
                  <a:srgbClr val="353535"/>
                </a:solidFill>
                <a:latin typeface="Segoe UI"/>
                <a:ea typeface="Arial Unicode MS" pitchFamily="34" charset="-128"/>
              </a:rPr>
              <a:t>Responsive UI automatically reflows across devices based on the space available.</a:t>
            </a:r>
          </a:p>
          <a:p>
            <a:pPr defTabSz="913874">
              <a:defRPr/>
            </a:pPr>
            <a:r>
              <a:rPr lang="en-IN" sz="1300" b="1" dirty="0">
                <a:solidFill>
                  <a:srgbClr val="353535"/>
                </a:solidFill>
                <a:latin typeface="Segoe UI"/>
                <a:ea typeface="Arial Unicode MS" pitchFamily="34" charset="-128"/>
              </a:rPr>
              <a:t>Immersive integrations</a:t>
            </a:r>
            <a:br>
              <a:rPr lang="en-IN" sz="1300" b="1" dirty="0">
                <a:solidFill>
                  <a:srgbClr val="353535"/>
                </a:solidFill>
                <a:latin typeface="Segoe UI"/>
                <a:ea typeface="Arial Unicode MS" pitchFamily="34" charset="-128"/>
              </a:rPr>
            </a:br>
            <a:r>
              <a:rPr lang="en-IN" sz="1300" dirty="0">
                <a:solidFill>
                  <a:srgbClr val="353535"/>
                </a:solidFill>
                <a:latin typeface="Segoe UI"/>
                <a:ea typeface="Arial Unicode MS" pitchFamily="34" charset="-128"/>
              </a:rPr>
              <a:t>Use Excel, Word, OneNote, Microsoft Social Engagement, Power BI, LinkedIn, and more directly embedded.</a:t>
            </a:r>
          </a:p>
          <a:p>
            <a:pPr marL="0" indent="0">
              <a:buNone/>
            </a:pPr>
            <a:br>
              <a:rPr lang="en-US" sz="1100" dirty="0">
                <a:latin typeface="Segoe UI" panose="020B0502040204020203" pitchFamily="34" charset="0"/>
                <a:cs typeface="Segoe UI" panose="020B0502040204020203" pitchFamily="34" charset="0"/>
              </a:rPr>
            </a:br>
            <a:endParaRPr lang="en-US" sz="1100" dirty="0">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4440526F-4D89-4899-A204-E262F2E754F5}"/>
              </a:ext>
            </a:extLst>
          </p:cNvPr>
          <p:cNvPicPr>
            <a:picLocks noChangeAspect="1"/>
          </p:cNvPicPr>
          <p:nvPr/>
        </p:nvPicPr>
        <p:blipFill>
          <a:blip r:embed="rId3"/>
          <a:stretch>
            <a:fillRect/>
          </a:stretch>
        </p:blipFill>
        <p:spPr>
          <a:xfrm>
            <a:off x="190315" y="1296669"/>
            <a:ext cx="5179932" cy="3456147"/>
          </a:xfrm>
          <a:prstGeom prst="rect">
            <a:avLst/>
          </a:prstGeom>
        </p:spPr>
      </p:pic>
      <p:cxnSp>
        <p:nvCxnSpPr>
          <p:cNvPr id="6" name="Straight Connector 5">
            <a:extLst>
              <a:ext uri="{FF2B5EF4-FFF2-40B4-BE49-F238E27FC236}">
                <a16:creationId xmlns:a16="http://schemas.microsoft.com/office/drawing/2014/main" id="{6905C70C-5AEA-4BE2-A132-5CD5BC451AF6}"/>
              </a:ext>
            </a:extLst>
          </p:cNvPr>
          <p:cNvCxnSpPr>
            <a:cxnSpLocks/>
          </p:cNvCxnSpPr>
          <p:nvPr/>
        </p:nvCxnSpPr>
        <p:spPr>
          <a:xfrm flipV="1">
            <a:off x="6175084" y="1296669"/>
            <a:ext cx="0" cy="4125787"/>
          </a:xfrm>
          <a:prstGeom prst="line">
            <a:avLst/>
          </a:prstGeom>
          <a:noFill/>
          <a:ln w="9525" cap="rnd" cmpd="sng" algn="ctr">
            <a:solidFill>
              <a:srgbClr val="742774"/>
            </a:solidFill>
            <a:prstDash val="solid"/>
            <a:headEnd type="none"/>
            <a:tailEnd type="none"/>
          </a:ln>
          <a:effectLst/>
        </p:spPr>
      </p:cxnSp>
      <p:grpSp>
        <p:nvGrpSpPr>
          <p:cNvPr id="7" name="Group 6">
            <a:extLst>
              <a:ext uri="{FF2B5EF4-FFF2-40B4-BE49-F238E27FC236}">
                <a16:creationId xmlns:a16="http://schemas.microsoft.com/office/drawing/2014/main" id="{85F0F290-3997-47AA-A054-1620A44E1CC9}"/>
              </a:ext>
            </a:extLst>
          </p:cNvPr>
          <p:cNvGrpSpPr/>
          <p:nvPr/>
        </p:nvGrpSpPr>
        <p:grpSpPr>
          <a:xfrm>
            <a:off x="1500698" y="3961489"/>
            <a:ext cx="4271968" cy="2868281"/>
            <a:chOff x="1341437" y="2307895"/>
            <a:chExt cx="5760720" cy="3721682"/>
          </a:xfrm>
        </p:grpSpPr>
        <p:pic>
          <p:nvPicPr>
            <p:cNvPr id="8" name="Picture 7">
              <a:extLst>
                <a:ext uri="{FF2B5EF4-FFF2-40B4-BE49-F238E27FC236}">
                  <a16:creationId xmlns:a16="http://schemas.microsoft.com/office/drawing/2014/main" id="{C0989E6A-B9C1-4693-99F2-759F3CA820E4}"/>
                </a:ext>
              </a:extLst>
            </p:cNvPr>
            <p:cNvPicPr>
              <a:picLocks noChangeAspect="1"/>
            </p:cNvPicPr>
            <p:nvPr/>
          </p:nvPicPr>
          <p:blipFill rotWithShape="1">
            <a:blip r:embed="rId4"/>
            <a:srcRect b="42965"/>
            <a:stretch/>
          </p:blipFill>
          <p:spPr>
            <a:xfrm>
              <a:off x="1763226" y="2659062"/>
              <a:ext cx="4912211" cy="2980515"/>
            </a:xfrm>
            <a:prstGeom prst="rect">
              <a:avLst/>
            </a:prstGeom>
            <a:solidFill>
              <a:schemeClr val="bg1"/>
            </a:solidFill>
            <a:ln>
              <a:noFill/>
            </a:ln>
          </p:spPr>
        </p:pic>
        <p:pic>
          <p:nvPicPr>
            <p:cNvPr id="9" name="Picture 8">
              <a:extLst>
                <a:ext uri="{FF2B5EF4-FFF2-40B4-BE49-F238E27FC236}">
                  <a16:creationId xmlns:a16="http://schemas.microsoft.com/office/drawing/2014/main" id="{BA0EADAB-7425-49A0-AE16-B27248753A35}"/>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1341437" y="2307895"/>
              <a:ext cx="5760720" cy="3721682"/>
            </a:xfrm>
            <a:prstGeom prst="rect">
              <a:avLst/>
            </a:prstGeom>
          </p:spPr>
        </p:pic>
      </p:grpSp>
      <p:sp>
        <p:nvSpPr>
          <p:cNvPr id="12" name="Title 2">
            <a:extLst>
              <a:ext uri="{FF2B5EF4-FFF2-40B4-BE49-F238E27FC236}">
                <a16:creationId xmlns:a16="http://schemas.microsoft.com/office/drawing/2014/main" id="{A336533B-2E3B-4B36-B940-883773554073}"/>
              </a:ext>
            </a:extLst>
          </p:cNvPr>
          <p:cNvSpPr txBox="1">
            <a:spLocks/>
          </p:cNvSpPr>
          <p:nvPr/>
        </p:nvSpPr>
        <p:spPr>
          <a:xfrm>
            <a:off x="23786" y="5138534"/>
            <a:ext cx="1659261" cy="688952"/>
          </a:xfrm>
          <a:prstGeom prst="rect">
            <a:avLst/>
          </a:prstGeom>
          <a:noFill/>
        </p:spPr>
        <p:txBody>
          <a:bodyPr vert="horz" wrap="square" lIns="143407" tIns="89630" rIns="143407" bIns="89630" rtlCol="0" anchor="t">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br>
              <a:rPr lang="en-US" dirty="0"/>
            </a:br>
            <a:r>
              <a:rPr lang="en-US" sz="2700" dirty="0">
                <a:solidFill>
                  <a:schemeClr val="bg2">
                    <a:lumMod val="65000"/>
                  </a:schemeClr>
                </a:solidFill>
                <a:latin typeface="+mn-lt"/>
              </a:rPr>
              <a:t>Sophisticated apps built from data</a:t>
            </a:r>
          </a:p>
        </p:txBody>
      </p:sp>
    </p:spTree>
    <p:extLst>
      <p:ext uri="{BB962C8B-B14F-4D97-AF65-F5344CB8AC3E}">
        <p14:creationId xmlns:p14="http://schemas.microsoft.com/office/powerpoint/2010/main" val="115604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79C57A-38B0-46E3-AA5C-620AD3B984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560" y="1673056"/>
            <a:ext cx="4379483" cy="2498322"/>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8F86943E-878D-43D1-A62C-970370A1D537}"/>
              </a:ext>
            </a:extLst>
          </p:cNvPr>
          <p:cNvPicPr>
            <a:picLocks noChangeAspect="1"/>
          </p:cNvPicPr>
          <p:nvPr/>
        </p:nvPicPr>
        <p:blipFill>
          <a:blip r:embed="rId4"/>
          <a:stretch>
            <a:fillRect/>
          </a:stretch>
        </p:blipFill>
        <p:spPr>
          <a:xfrm>
            <a:off x="1416502" y="3029972"/>
            <a:ext cx="4208861" cy="2525316"/>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207979E-536E-43AC-BEB1-EFE9F8972A10}"/>
              </a:ext>
            </a:extLst>
          </p:cNvPr>
          <p:cNvSpPr txBox="1">
            <a:spLocks/>
          </p:cNvSpPr>
          <p:nvPr/>
        </p:nvSpPr>
        <p:spPr>
          <a:xfrm>
            <a:off x="278228" y="288121"/>
            <a:ext cx="12190271" cy="896297"/>
          </a:xfrm>
          <a:prstGeom prst="rect">
            <a:avLst/>
          </a:prstGeom>
          <a:noFill/>
        </p:spPr>
        <p:txBody>
          <a:bodyPr vert="horz" wrap="square" lIns="143407" tIns="89630" rIns="143407" bIns="89630" rtlCol="0" anchor="t">
            <a:normAutofit fontScale="97500" lnSpcReduction="10000"/>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defTabSz="914192">
              <a:defRPr/>
            </a:pPr>
            <a:r>
              <a:rPr lang="en-US" sz="3136" dirty="0">
                <a:solidFill>
                  <a:srgbClr val="0074FF"/>
                </a:solidFill>
                <a:latin typeface="Segoe UI"/>
              </a:rPr>
              <a:t>Microsoft Flow</a:t>
            </a:r>
            <a:br>
              <a:rPr lang="en-US" sz="3136" dirty="0">
                <a:solidFill>
                  <a:srgbClr val="282828"/>
                </a:solidFill>
                <a:latin typeface="Segoe UI Semibold"/>
              </a:rPr>
            </a:br>
            <a:r>
              <a:rPr lang="en-US" sz="2700" dirty="0">
                <a:solidFill>
                  <a:srgbClr val="FFFFFF">
                    <a:lumMod val="65000"/>
                  </a:srgbClr>
                </a:solidFill>
                <a:latin typeface="Segoe UI"/>
              </a:rPr>
              <a:t>Connecting Apps &amp; Services</a:t>
            </a:r>
          </a:p>
        </p:txBody>
      </p:sp>
      <p:cxnSp>
        <p:nvCxnSpPr>
          <p:cNvPr id="11" name="Straight Connector 10">
            <a:extLst>
              <a:ext uri="{FF2B5EF4-FFF2-40B4-BE49-F238E27FC236}">
                <a16:creationId xmlns:a16="http://schemas.microsoft.com/office/drawing/2014/main" id="{9BCAE7CA-AD0E-4782-B8B1-063F9ECC009E}"/>
              </a:ext>
            </a:extLst>
          </p:cNvPr>
          <p:cNvCxnSpPr>
            <a:cxnSpLocks/>
          </p:cNvCxnSpPr>
          <p:nvPr/>
        </p:nvCxnSpPr>
        <p:spPr>
          <a:xfrm flipV="1">
            <a:off x="6707444" y="1285095"/>
            <a:ext cx="0" cy="4611856"/>
          </a:xfrm>
          <a:prstGeom prst="line">
            <a:avLst/>
          </a:prstGeom>
          <a:noFill/>
          <a:ln w="9525" cap="rnd" cmpd="sng" algn="ctr">
            <a:solidFill>
              <a:srgbClr val="0074FF"/>
            </a:solidFill>
            <a:prstDash val="solid"/>
            <a:headEnd type="none"/>
            <a:tailEnd type="none"/>
          </a:ln>
          <a:effectLst/>
        </p:spPr>
      </p:cxnSp>
      <p:sp>
        <p:nvSpPr>
          <p:cNvPr id="12" name="Text Placeholder 7">
            <a:extLst>
              <a:ext uri="{FF2B5EF4-FFF2-40B4-BE49-F238E27FC236}">
                <a16:creationId xmlns:a16="http://schemas.microsoft.com/office/drawing/2014/main" id="{9B55A490-8637-4495-8673-70E684D0A9D7}"/>
              </a:ext>
            </a:extLst>
          </p:cNvPr>
          <p:cNvSpPr txBox="1">
            <a:spLocks/>
          </p:cNvSpPr>
          <p:nvPr/>
        </p:nvSpPr>
        <p:spPr>
          <a:xfrm>
            <a:off x="6937863" y="1523988"/>
            <a:ext cx="5173034" cy="4090540"/>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Automate and model business processes across your apps and services</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From simple automations to advanced scenarios with branches, loops, and more</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Trigger flows from apps based on user interaction, data changes or events</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Leverage device signals on mobile devices</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Supports 230+ data sources for events and actions, from Microsoft and other vendors</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Design Flows in MS Visio</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Flow bot for Microsoft Teams</a:t>
            </a:r>
          </a:p>
          <a:p>
            <a:pPr marL="285695" indent="-285695" defTabSz="914225" fontAlgn="base">
              <a:lnSpc>
                <a:spcPct val="100000"/>
              </a:lnSpc>
              <a:spcBef>
                <a:spcPts val="1200"/>
              </a:spcBef>
              <a:spcAft>
                <a:spcPct val="0"/>
              </a:spcAft>
              <a:buClr>
                <a:srgbClr val="0078D7"/>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Power Query integration</a:t>
            </a:r>
          </a:p>
        </p:txBody>
      </p:sp>
      <p:sp>
        <p:nvSpPr>
          <p:cNvPr id="2" name="Title 1">
            <a:extLst>
              <a:ext uri="{FF2B5EF4-FFF2-40B4-BE49-F238E27FC236}">
                <a16:creationId xmlns:a16="http://schemas.microsoft.com/office/drawing/2014/main" id="{C3B569AC-0788-41F9-A9D2-10945F988490}"/>
              </a:ext>
            </a:extLst>
          </p:cNvPr>
          <p:cNvSpPr>
            <a:spLocks noGrp="1"/>
          </p:cNvSpPr>
          <p:nvPr>
            <p:ph type="title"/>
          </p:nvPr>
        </p:nvSpPr>
        <p:spPr/>
        <p:txBody>
          <a:bodyPr/>
          <a:lstStyle/>
          <a:p>
            <a:endParaRPr lang="nl-NL"/>
          </a:p>
        </p:txBody>
      </p:sp>
      <p:sp>
        <p:nvSpPr>
          <p:cNvPr id="3" name="Content Placeholder 2">
            <a:extLst>
              <a:ext uri="{FF2B5EF4-FFF2-40B4-BE49-F238E27FC236}">
                <a16:creationId xmlns:a16="http://schemas.microsoft.com/office/drawing/2014/main" id="{F5781C93-A7BF-4D6F-BBB0-976DDF4EFE1D}"/>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096148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207979E-536E-43AC-BEB1-EFE9F8972A10}"/>
              </a:ext>
            </a:extLst>
          </p:cNvPr>
          <p:cNvSpPr txBox="1">
            <a:spLocks/>
          </p:cNvSpPr>
          <p:nvPr/>
        </p:nvSpPr>
        <p:spPr>
          <a:xfrm>
            <a:off x="278228" y="288121"/>
            <a:ext cx="12190271" cy="896297"/>
          </a:xfrm>
          <a:prstGeom prst="rect">
            <a:avLst/>
          </a:prstGeom>
          <a:noFill/>
        </p:spPr>
        <p:txBody>
          <a:bodyPr vert="horz" wrap="square" lIns="143407" tIns="89630" rIns="143407" bIns="89630" rtlCol="0" anchor="t">
            <a:normAutofit fontScale="97500" lnSpcReduction="10000"/>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defTabSz="914192">
              <a:defRPr/>
            </a:pPr>
            <a:r>
              <a:rPr lang="en-US" sz="3136" dirty="0">
                <a:solidFill>
                  <a:srgbClr val="D9A628"/>
                </a:solidFill>
                <a:latin typeface="Segoe UI"/>
              </a:rPr>
              <a:t>Power BI </a:t>
            </a:r>
            <a:br>
              <a:rPr lang="en-US" sz="3136" dirty="0">
                <a:solidFill>
                  <a:srgbClr val="282828"/>
                </a:solidFill>
                <a:latin typeface="Segoe UI Semibold"/>
              </a:rPr>
            </a:br>
            <a:r>
              <a:rPr lang="en-US" sz="2700" dirty="0">
                <a:solidFill>
                  <a:srgbClr val="FFFFFF">
                    <a:lumMod val="65000"/>
                  </a:srgbClr>
                </a:solidFill>
                <a:latin typeface="Segoe UI"/>
              </a:rPr>
              <a:t>Create stunning interactive reports</a:t>
            </a:r>
          </a:p>
        </p:txBody>
      </p:sp>
      <p:cxnSp>
        <p:nvCxnSpPr>
          <p:cNvPr id="11" name="Straight Connector 10">
            <a:extLst>
              <a:ext uri="{FF2B5EF4-FFF2-40B4-BE49-F238E27FC236}">
                <a16:creationId xmlns:a16="http://schemas.microsoft.com/office/drawing/2014/main" id="{9BCAE7CA-AD0E-4782-B8B1-063F9ECC009E}"/>
              </a:ext>
            </a:extLst>
          </p:cNvPr>
          <p:cNvCxnSpPr>
            <a:cxnSpLocks/>
          </p:cNvCxnSpPr>
          <p:nvPr/>
        </p:nvCxnSpPr>
        <p:spPr>
          <a:xfrm flipV="1">
            <a:off x="6707444" y="1765376"/>
            <a:ext cx="0" cy="3570283"/>
          </a:xfrm>
          <a:prstGeom prst="line">
            <a:avLst/>
          </a:prstGeom>
          <a:noFill/>
          <a:ln w="9525" cap="rnd" cmpd="sng" algn="ctr">
            <a:solidFill>
              <a:srgbClr val="D9A628"/>
            </a:solidFill>
            <a:prstDash val="solid"/>
            <a:headEnd type="none"/>
            <a:tailEnd type="none"/>
          </a:ln>
          <a:effectLst/>
        </p:spPr>
      </p:cxnSp>
      <p:sp>
        <p:nvSpPr>
          <p:cNvPr id="12" name="Text Placeholder 7">
            <a:extLst>
              <a:ext uri="{FF2B5EF4-FFF2-40B4-BE49-F238E27FC236}">
                <a16:creationId xmlns:a16="http://schemas.microsoft.com/office/drawing/2014/main" id="{9B55A490-8637-4495-8673-70E684D0A9D7}"/>
              </a:ext>
            </a:extLst>
          </p:cNvPr>
          <p:cNvSpPr txBox="1">
            <a:spLocks/>
          </p:cNvSpPr>
          <p:nvPr/>
        </p:nvSpPr>
        <p:spPr>
          <a:xfrm>
            <a:off x="6932076" y="2336550"/>
            <a:ext cx="5173034" cy="2219460"/>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695" indent="-285695" defTabSz="914225" fontAlgn="base">
              <a:lnSpc>
                <a:spcPct val="100000"/>
              </a:lnSpc>
              <a:spcBef>
                <a:spcPts val="1200"/>
              </a:spcBef>
              <a:spcAft>
                <a:spcPct val="0"/>
              </a:spcAft>
              <a:buClr>
                <a:srgbClr val="D9A628"/>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Author reports using 150+ visuals via a drag-and-drop canvas</a:t>
            </a:r>
          </a:p>
          <a:p>
            <a:pPr marL="285695" indent="-285695" defTabSz="914225" fontAlgn="base">
              <a:lnSpc>
                <a:spcPct val="100000"/>
              </a:lnSpc>
              <a:spcBef>
                <a:spcPts val="1200"/>
              </a:spcBef>
              <a:spcAft>
                <a:spcPct val="0"/>
              </a:spcAft>
              <a:buClr>
                <a:srgbClr val="D9A628"/>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Explore data across multiple interactive visualizations</a:t>
            </a:r>
          </a:p>
          <a:p>
            <a:pPr marL="285695" indent="-285695" defTabSz="914225" fontAlgn="base">
              <a:lnSpc>
                <a:spcPct val="100000"/>
              </a:lnSpc>
              <a:spcBef>
                <a:spcPts val="1200"/>
              </a:spcBef>
              <a:spcAft>
                <a:spcPct val="0"/>
              </a:spcAft>
              <a:buClr>
                <a:srgbClr val="D9A628"/>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Provide insights in the context of your business with Custom Visuals</a:t>
            </a:r>
          </a:p>
          <a:p>
            <a:pPr marL="285695" indent="-285695" defTabSz="914225" fontAlgn="base">
              <a:lnSpc>
                <a:spcPct val="100000"/>
              </a:lnSpc>
              <a:spcBef>
                <a:spcPts val="1200"/>
              </a:spcBef>
              <a:spcAft>
                <a:spcPct val="0"/>
              </a:spcAft>
              <a:buClr>
                <a:srgbClr val="D9A628"/>
              </a:buClr>
              <a:buSzTx/>
              <a:buFont typeface="Wingdings" panose="05000000000000000000" pitchFamily="2" charset="2"/>
              <a:buChar char="§"/>
              <a:defRPr/>
            </a:pPr>
            <a:r>
              <a:rPr lang="en-US" sz="1600" dirty="0">
                <a:solidFill>
                  <a:srgbClr val="505050"/>
                </a:solidFill>
                <a:latin typeface="Segoe UI Light"/>
                <a:cs typeface="Segoe UI Light" panose="020B0502040204020203" pitchFamily="34" charset="0"/>
              </a:rPr>
              <a:t>Visualize your data story with bookmarks and custom navigation</a:t>
            </a:r>
          </a:p>
        </p:txBody>
      </p:sp>
      <p:grpSp>
        <p:nvGrpSpPr>
          <p:cNvPr id="7" name="Group 6">
            <a:extLst>
              <a:ext uri="{FF2B5EF4-FFF2-40B4-BE49-F238E27FC236}">
                <a16:creationId xmlns:a16="http://schemas.microsoft.com/office/drawing/2014/main" id="{416E4831-7F90-4BA5-B009-81928A6BC172}"/>
              </a:ext>
            </a:extLst>
          </p:cNvPr>
          <p:cNvGrpSpPr/>
          <p:nvPr/>
        </p:nvGrpSpPr>
        <p:grpSpPr>
          <a:xfrm>
            <a:off x="357495" y="1765376"/>
            <a:ext cx="6014331" cy="3570283"/>
            <a:chOff x="6737920" y="1622433"/>
            <a:chExt cx="7031501" cy="4546355"/>
          </a:xfrm>
        </p:grpSpPr>
        <p:pic>
          <p:nvPicPr>
            <p:cNvPr id="8" name="Picture 7" descr="A screenshot of a computer screen&#10;&#10;Description generated with very high confidence">
              <a:extLst>
                <a:ext uri="{FF2B5EF4-FFF2-40B4-BE49-F238E27FC236}">
                  <a16:creationId xmlns:a16="http://schemas.microsoft.com/office/drawing/2014/main" id="{3C77A649-3FDF-4B28-9D4B-B04AF64C81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10" name="Picture 9" descr="A screenshot of a computer&#10;&#10;Description generated with very high confidence">
              <a:extLst>
                <a:ext uri="{FF2B5EF4-FFF2-40B4-BE49-F238E27FC236}">
                  <a16:creationId xmlns:a16="http://schemas.microsoft.com/office/drawing/2014/main" id="{45EAC79A-8658-485A-9020-E33641F766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59490" y="2271013"/>
              <a:ext cx="4782265" cy="3188177"/>
            </a:xfrm>
            <a:prstGeom prst="rect">
              <a:avLst/>
            </a:prstGeom>
          </p:spPr>
        </p:pic>
      </p:grpSp>
      <p:sp>
        <p:nvSpPr>
          <p:cNvPr id="2" name="Title 1">
            <a:extLst>
              <a:ext uri="{FF2B5EF4-FFF2-40B4-BE49-F238E27FC236}">
                <a16:creationId xmlns:a16="http://schemas.microsoft.com/office/drawing/2014/main" id="{A9DCB6DF-5F74-4EFA-9922-7C214909F566}"/>
              </a:ext>
            </a:extLst>
          </p:cNvPr>
          <p:cNvSpPr>
            <a:spLocks noGrp="1"/>
          </p:cNvSpPr>
          <p:nvPr>
            <p:ph type="title"/>
          </p:nvPr>
        </p:nvSpPr>
        <p:spPr/>
        <p:txBody>
          <a:bodyPr/>
          <a:lstStyle/>
          <a:p>
            <a:endParaRPr lang="nl-NL"/>
          </a:p>
        </p:txBody>
      </p:sp>
      <p:sp>
        <p:nvSpPr>
          <p:cNvPr id="3" name="Content Placeholder 2">
            <a:extLst>
              <a:ext uri="{FF2B5EF4-FFF2-40B4-BE49-F238E27FC236}">
                <a16:creationId xmlns:a16="http://schemas.microsoft.com/office/drawing/2014/main" id="{F52D0845-A680-4A87-A236-1E6D9EB05157}"/>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93893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48903" y="2130526"/>
          <a:ext cx="12094194" cy="3263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D27C84E7-6BE4-4B7E-AD75-5F0100CAFA59}"/>
              </a:ext>
            </a:extLst>
          </p:cNvPr>
          <p:cNvSpPr>
            <a:spLocks noGrp="1"/>
          </p:cNvSpPr>
          <p:nvPr>
            <p:ph type="title"/>
          </p:nvPr>
        </p:nvSpPr>
        <p:spPr/>
        <p:txBody>
          <a:bodyPr/>
          <a:lstStyle/>
          <a:p>
            <a:endParaRPr lang="nl-NL"/>
          </a:p>
        </p:txBody>
      </p:sp>
      <p:sp>
        <p:nvSpPr>
          <p:cNvPr id="5" name="Content Placeholder 1"/>
          <p:cNvSpPr>
            <a:spLocks noGrp="1"/>
          </p:cNvSpPr>
          <p:nvPr>
            <p:ph idx="1"/>
          </p:nvPr>
        </p:nvSpPr>
        <p:spPr/>
        <p:txBody>
          <a:bodyPr>
            <a:normAutofit/>
          </a:bodyPr>
          <a:lstStyle/>
          <a:p>
            <a:pPr marL="0" indent="0" algn="ctr">
              <a:buNone/>
            </a:pPr>
            <a:r>
              <a:rPr lang="en-US" sz="4800" dirty="0">
                <a:latin typeface="Open Sans Light" charset="0"/>
                <a:ea typeface="Open Sans Light" charset="0"/>
                <a:cs typeface="Open Sans Light" charset="0"/>
              </a:rPr>
              <a:t>Why </a:t>
            </a:r>
            <a:r>
              <a:rPr lang="en-US" sz="4800" dirty="0" err="1">
                <a:latin typeface="Open Sans Light" charset="0"/>
                <a:ea typeface="Open Sans Light" charset="0"/>
                <a:cs typeface="Open Sans Light" charset="0"/>
              </a:rPr>
              <a:t>PowerApps</a:t>
            </a:r>
            <a:r>
              <a:rPr lang="en-US" sz="4800" dirty="0">
                <a:latin typeface="Open Sans Light" charset="0"/>
                <a:ea typeface="Open Sans Light" charset="0"/>
                <a:cs typeface="Open Sans Light" charset="0"/>
              </a:rPr>
              <a:t> and Flow?</a:t>
            </a:r>
          </a:p>
        </p:txBody>
      </p:sp>
    </p:spTree>
    <p:extLst>
      <p:ext uri="{BB962C8B-B14F-4D97-AF65-F5344CB8AC3E}">
        <p14:creationId xmlns:p14="http://schemas.microsoft.com/office/powerpoint/2010/main" val="24300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099850" y="0"/>
            <a:ext cx="9992299" cy="6858000"/>
          </a:xfrm>
          <a:prstGeom prst="rect">
            <a:avLst/>
          </a:prstGeom>
        </p:spPr>
      </p:pic>
      <p:sp>
        <p:nvSpPr>
          <p:cNvPr id="2" name="Title 1">
            <a:extLst>
              <a:ext uri="{FF2B5EF4-FFF2-40B4-BE49-F238E27FC236}">
                <a16:creationId xmlns:a16="http://schemas.microsoft.com/office/drawing/2014/main" id="{34D0FC80-31A8-4EAD-A423-C9A04E043BA3}"/>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18F7EB06-ED71-4C52-960F-43E70BCC9B34}"/>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62415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PowerApps</a:t>
            </a:r>
            <a:r>
              <a:rPr lang="en-US" dirty="0"/>
              <a:t>, Flow and Connections</a:t>
            </a:r>
          </a:p>
        </p:txBody>
      </p:sp>
      <p:sp>
        <p:nvSpPr>
          <p:cNvPr id="3" name="Content Placeholder 2">
            <a:extLst>
              <a:ext uri="{FF2B5EF4-FFF2-40B4-BE49-F238E27FC236}">
                <a16:creationId xmlns:a16="http://schemas.microsoft.com/office/drawing/2014/main" id="{B783221B-F31F-4DE5-9D25-DD118D93B969}"/>
              </a:ext>
            </a:extLst>
          </p:cNvPr>
          <p:cNvSpPr>
            <a:spLocks noGrp="1"/>
          </p:cNvSpPr>
          <p:nvPr>
            <p:ph idx="1"/>
          </p:nvPr>
        </p:nvSpPr>
        <p:spPr/>
        <p:txBody>
          <a:bodyPr/>
          <a:lstStyle/>
          <a:p>
            <a:endParaRPr lang="nl-NL"/>
          </a:p>
        </p:txBody>
      </p:sp>
      <p:grpSp>
        <p:nvGrpSpPr>
          <p:cNvPr id="7" name="Group 6"/>
          <p:cNvGrpSpPr/>
          <p:nvPr/>
        </p:nvGrpSpPr>
        <p:grpSpPr>
          <a:xfrm>
            <a:off x="2901915" y="1851262"/>
            <a:ext cx="2782596" cy="3155476"/>
            <a:chOff x="4035286" y="1928191"/>
            <a:chExt cx="3468757" cy="3933586"/>
          </a:xfrm>
          <a:effectLst>
            <a:outerShdw blurRad="50800" dist="38100" dir="2700000" algn="tl" rotWithShape="0">
              <a:prstClr val="black">
                <a:alpha val="40000"/>
              </a:prstClr>
            </a:outerShdw>
          </a:effectLst>
        </p:grpSpPr>
        <p:pic>
          <p:nvPicPr>
            <p:cNvPr id="8" name="Picture 3"/>
            <p:cNvPicPr>
              <a:picLocks noChangeAspect="1"/>
            </p:cNvPicPr>
            <p:nvPr/>
          </p:nvPicPr>
          <p:blipFill>
            <a:blip r:embed="rId2"/>
            <a:stretch>
              <a:fillRect/>
            </a:stretch>
          </p:blipFill>
          <p:spPr>
            <a:xfrm>
              <a:off x="4573586" y="3747467"/>
              <a:ext cx="2392156" cy="1803475"/>
            </a:xfrm>
            <a:prstGeom prst="rect">
              <a:avLst/>
            </a:prstGeom>
          </p:spPr>
        </p:pic>
        <p:sp>
          <p:nvSpPr>
            <p:cNvPr id="9" name="Rectangle 4"/>
            <p:cNvSpPr/>
            <p:nvPr/>
          </p:nvSpPr>
          <p:spPr bwMode="auto">
            <a:xfrm>
              <a:off x="4035286" y="1928191"/>
              <a:ext cx="3468757" cy="3933586"/>
            </a:xfrm>
            <a:prstGeom prst="rect">
              <a:avLst/>
            </a:prstGeom>
            <a:noFill/>
            <a:ln w="57150">
              <a:solidFill>
                <a:srgbClr val="A943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6629" y="2342321"/>
              <a:ext cx="1186070" cy="1186070"/>
            </a:xfrm>
            <a:prstGeom prst="rect">
              <a:avLst/>
            </a:prstGeom>
          </p:spPr>
        </p:pic>
      </p:grpSp>
      <p:grpSp>
        <p:nvGrpSpPr>
          <p:cNvPr id="11" name="Group 14"/>
          <p:cNvGrpSpPr/>
          <p:nvPr/>
        </p:nvGrpSpPr>
        <p:grpSpPr>
          <a:xfrm>
            <a:off x="6516514" y="1851262"/>
            <a:ext cx="2782596" cy="3155476"/>
            <a:chOff x="5329493" y="1590260"/>
            <a:chExt cx="3468757" cy="3933586"/>
          </a:xfrm>
          <a:effectLst>
            <a:outerShdw blurRad="50800" dist="38100" dir="2700000" algn="tl" rotWithShape="0">
              <a:prstClr val="black">
                <a:alpha val="40000"/>
              </a:prstClr>
            </a:outerShdw>
          </a:effectLst>
        </p:grpSpPr>
        <p:pic>
          <p:nvPicPr>
            <p:cNvPr id="12" name="Picture 7"/>
            <p:cNvPicPr>
              <a:picLocks noChangeAspect="1"/>
            </p:cNvPicPr>
            <p:nvPr/>
          </p:nvPicPr>
          <p:blipFill>
            <a:blip r:embed="rId4"/>
            <a:stretch>
              <a:fillRect/>
            </a:stretch>
          </p:blipFill>
          <p:spPr>
            <a:xfrm>
              <a:off x="6473100" y="2004390"/>
              <a:ext cx="1181542" cy="1186070"/>
            </a:xfrm>
            <a:prstGeom prst="rect">
              <a:avLst/>
            </a:prstGeom>
          </p:spPr>
        </p:pic>
        <p:sp>
          <p:nvSpPr>
            <p:cNvPr id="13" name="Rectangle 11"/>
            <p:cNvSpPr/>
            <p:nvPr/>
          </p:nvSpPr>
          <p:spPr bwMode="auto">
            <a:xfrm>
              <a:off x="5329493" y="1590260"/>
              <a:ext cx="3468757" cy="3933586"/>
            </a:xfrm>
            <a:prstGeom prst="rect">
              <a:avLst/>
            </a:prstGeom>
            <a:noFill/>
            <a:ln w="57150">
              <a:solidFill>
                <a:srgbClr val="ADC3D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5">
              <a:clrChange>
                <a:clrFrom>
                  <a:srgbClr val="E3E3E3"/>
                </a:clrFrom>
                <a:clrTo>
                  <a:srgbClr val="E3E3E3">
                    <a:alpha val="0"/>
                  </a:srgbClr>
                </a:clrTo>
              </a:clrChange>
            </a:blip>
            <a:stretch>
              <a:fillRect/>
            </a:stretch>
          </p:blipFill>
          <p:spPr>
            <a:xfrm>
              <a:off x="6146441" y="3409536"/>
              <a:ext cx="1834860" cy="1734916"/>
            </a:xfrm>
            <a:prstGeom prst="rect">
              <a:avLst/>
            </a:prstGeom>
          </p:spPr>
        </p:pic>
      </p:grpSp>
      <p:cxnSp>
        <p:nvCxnSpPr>
          <p:cNvPr id="15" name="Straight Arrow Connector 16"/>
          <p:cNvCxnSpPr>
            <a:stCxn id="10" idx="3"/>
            <a:endCxn id="17" idx="1"/>
          </p:cNvCxnSpPr>
          <p:nvPr/>
        </p:nvCxnSpPr>
        <p:spPr>
          <a:xfrm>
            <a:off x="5684512" y="3429000"/>
            <a:ext cx="832003" cy="0"/>
          </a:xfrm>
          <a:prstGeom prst="straightConnector1">
            <a:avLst/>
          </a:prstGeom>
          <a:ln>
            <a:prstDash val="dash"/>
            <a:headEnd type="none"/>
            <a:tailEnd type="triangle"/>
          </a:ln>
        </p:spPr>
        <p:style>
          <a:lnRef idx="1">
            <a:schemeClr val="dk1"/>
          </a:lnRef>
          <a:fillRef idx="0">
            <a:schemeClr val="dk1"/>
          </a:fillRef>
          <a:effectRef idx="0">
            <a:schemeClr val="dk1"/>
          </a:effectRef>
          <a:fontRef idx="minor">
            <a:schemeClr val="tx1"/>
          </a:fontRef>
        </p:style>
      </p:cxnSp>
      <p:pic>
        <p:nvPicPr>
          <p:cNvPr id="16" name="Picture 17"/>
          <p:cNvPicPr>
            <a:picLocks noChangeAspect="1"/>
          </p:cNvPicPr>
          <p:nvPr/>
        </p:nvPicPr>
        <p:blipFill>
          <a:blip r:embed="rId6"/>
          <a:stretch>
            <a:fillRect/>
          </a:stretch>
        </p:blipFill>
        <p:spPr>
          <a:xfrm>
            <a:off x="2861505" y="5580248"/>
            <a:ext cx="2823006" cy="830706"/>
          </a:xfrm>
          <a:prstGeom prst="rect">
            <a:avLst/>
          </a:prstGeom>
          <a:effectLst>
            <a:outerShdw blurRad="50800" dist="38100" dir="2700000" algn="tl" rotWithShape="0">
              <a:prstClr val="black">
                <a:alpha val="40000"/>
              </a:prstClr>
            </a:outerShdw>
          </a:effectLst>
        </p:spPr>
      </p:pic>
      <p:pic>
        <p:nvPicPr>
          <p:cNvPr id="17" name="Picture 18"/>
          <p:cNvPicPr>
            <a:picLocks noChangeAspect="1"/>
          </p:cNvPicPr>
          <p:nvPr/>
        </p:nvPicPr>
        <p:blipFill>
          <a:blip r:embed="rId6"/>
          <a:stretch>
            <a:fillRect/>
          </a:stretch>
        </p:blipFill>
        <p:spPr>
          <a:xfrm>
            <a:off x="6476104" y="5533153"/>
            <a:ext cx="2823006" cy="830706"/>
          </a:xfrm>
          <a:prstGeom prst="rect">
            <a:avLst/>
          </a:prstGeom>
          <a:effectLst>
            <a:outerShdw blurRad="50800" dist="38100" dir="2700000" algn="tl" rotWithShape="0">
              <a:prstClr val="black">
                <a:alpha val="40000"/>
              </a:prstClr>
            </a:outerShdw>
          </a:effectLst>
        </p:spPr>
      </p:pic>
      <p:cxnSp>
        <p:nvCxnSpPr>
          <p:cNvPr id="18" name="Straight Arrow Connector 19"/>
          <p:cNvCxnSpPr/>
          <p:nvPr/>
        </p:nvCxnSpPr>
        <p:spPr>
          <a:xfrm>
            <a:off x="4273009" y="5006739"/>
            <a:ext cx="1569" cy="574087"/>
          </a:xfrm>
          <a:prstGeom prst="straightConnector1">
            <a:avLst/>
          </a:prstGeom>
          <a:ln>
            <a:prstDash val="dash"/>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29"/>
          <p:cNvCxnSpPr/>
          <p:nvPr/>
        </p:nvCxnSpPr>
        <p:spPr>
          <a:xfrm>
            <a:off x="7907812" y="5029373"/>
            <a:ext cx="1569" cy="574087"/>
          </a:xfrm>
          <a:prstGeom prst="straightConnector1">
            <a:avLst/>
          </a:prstGeom>
          <a:ln>
            <a:prstDash val="dash"/>
            <a:headEnd type="triangle"/>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8688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AB4E14-A25E-4655-B123-DAD3EE016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B8AB4E14-A25E-4655-B123-DAD3EE0169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91E31C-958D-46CC-822A-DF4694D5A83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3" name="Freeform: Shape 112">
            <a:extLst>
              <a:ext uri="{FF2B5EF4-FFF2-40B4-BE49-F238E27FC236}">
                <a16:creationId xmlns:a16="http://schemas.microsoft.com/office/drawing/2014/main" id="{1CA566B4-A538-4F1F-9D7B-E82CC2940174}"/>
              </a:ext>
            </a:extLst>
          </p:cNvPr>
          <p:cNvSpPr/>
          <p:nvPr/>
        </p:nvSpPr>
        <p:spPr bwMode="auto">
          <a:xfrm>
            <a:off x="0" y="0"/>
            <a:ext cx="5236368" cy="6781799"/>
          </a:xfrm>
          <a:custGeom>
            <a:avLst/>
            <a:gdLst>
              <a:gd name="connsiteX0" fmla="*/ 0 w 5236368"/>
              <a:gd name="connsiteY0" fmla="*/ 0 h 6781799"/>
              <a:gd name="connsiteX1" fmla="*/ 3690939 w 5236368"/>
              <a:gd name="connsiteY1" fmla="*/ 0 h 6781799"/>
              <a:gd name="connsiteX2" fmla="*/ 5236368 w 5236368"/>
              <a:gd name="connsiteY2" fmla="*/ 1545431 h 6781799"/>
              <a:gd name="connsiteX3" fmla="*/ 0 w 5236368"/>
              <a:gd name="connsiteY3" fmla="*/ 6781799 h 6781799"/>
            </a:gdLst>
            <a:ahLst/>
            <a:cxnLst>
              <a:cxn ang="0">
                <a:pos x="connsiteX0" y="connsiteY0"/>
              </a:cxn>
              <a:cxn ang="0">
                <a:pos x="connsiteX1" y="connsiteY1"/>
              </a:cxn>
              <a:cxn ang="0">
                <a:pos x="connsiteX2" y="connsiteY2"/>
              </a:cxn>
              <a:cxn ang="0">
                <a:pos x="connsiteX3" y="connsiteY3"/>
              </a:cxn>
            </a:cxnLst>
            <a:rect l="l" t="t" r="r" b="b"/>
            <a:pathLst>
              <a:path w="5236368" h="6781799">
                <a:moveTo>
                  <a:pt x="0" y="0"/>
                </a:moveTo>
                <a:lnTo>
                  <a:pt x="3690939" y="0"/>
                </a:lnTo>
                <a:lnTo>
                  <a:pt x="5236368" y="1545431"/>
                </a:lnTo>
                <a:lnTo>
                  <a:pt x="0" y="6781799"/>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46" name="Group 45">
            <a:extLst>
              <a:ext uri="{FF2B5EF4-FFF2-40B4-BE49-F238E27FC236}">
                <a16:creationId xmlns:a16="http://schemas.microsoft.com/office/drawing/2014/main" id="{AFD97818-2D58-447D-89F8-6F1F239D859B}"/>
              </a:ext>
            </a:extLst>
          </p:cNvPr>
          <p:cNvGrpSpPr/>
          <p:nvPr/>
        </p:nvGrpSpPr>
        <p:grpSpPr>
          <a:xfrm>
            <a:off x="615652" y="788621"/>
            <a:ext cx="3888571" cy="2562774"/>
            <a:chOff x="-12376624" y="2253877"/>
            <a:chExt cx="36946840" cy="2562774"/>
          </a:xfrm>
        </p:grpSpPr>
        <p:sp>
          <p:nvSpPr>
            <p:cNvPr id="47" name="Rectangle 46">
              <a:extLst>
                <a:ext uri="{FF2B5EF4-FFF2-40B4-BE49-F238E27FC236}">
                  <a16:creationId xmlns:a16="http://schemas.microsoft.com/office/drawing/2014/main" id="{C37B53C7-0B41-4433-A0C8-B6079B02E0AA}"/>
                </a:ext>
              </a:extLst>
            </p:cNvPr>
            <p:cNvSpPr/>
            <p:nvPr/>
          </p:nvSpPr>
          <p:spPr>
            <a:xfrm>
              <a:off x="-12376624" y="2253877"/>
              <a:ext cx="22702026" cy="1021886"/>
            </a:xfrm>
            <a:prstGeom prst="rect">
              <a:avLst/>
            </a:prstGeom>
          </p:spPr>
          <p:txBody>
            <a:bodyPr wrap="none" lIns="0" tIns="0" rIns="0" bIns="0">
              <a:noAutofit/>
            </a:bodyPr>
            <a:lstStyle/>
            <a:p>
              <a:r>
                <a:rPr lang="en-US" sz="3200">
                  <a:latin typeface="+mj-lt"/>
                </a:rPr>
                <a:t>Power Automate</a:t>
              </a:r>
              <a:br>
                <a:rPr lang="en-US" sz="3200">
                  <a:latin typeface="+mj-lt"/>
                </a:rPr>
              </a:br>
              <a:r>
                <a:rPr lang="en-US" sz="3200">
                  <a:latin typeface="+mj-lt"/>
                </a:rPr>
                <a:t>is Designed</a:t>
              </a:r>
              <a:br>
                <a:rPr lang="en-US" sz="3200">
                  <a:latin typeface="+mj-lt"/>
                </a:rPr>
              </a:br>
              <a:r>
                <a:rPr lang="en-US" sz="3200">
                  <a:latin typeface="+mj-lt"/>
                </a:rPr>
                <a:t>For Everyone</a:t>
              </a:r>
            </a:p>
          </p:txBody>
        </p:sp>
        <p:sp>
          <p:nvSpPr>
            <p:cNvPr id="48" name="Rectangle 47">
              <a:extLst>
                <a:ext uri="{FF2B5EF4-FFF2-40B4-BE49-F238E27FC236}">
                  <a16:creationId xmlns:a16="http://schemas.microsoft.com/office/drawing/2014/main" id="{1F36B2CF-4AB1-4A22-86F2-B93A507B1983}"/>
                </a:ext>
              </a:extLst>
            </p:cNvPr>
            <p:cNvSpPr/>
            <p:nvPr/>
          </p:nvSpPr>
          <p:spPr>
            <a:xfrm>
              <a:off x="-12376624" y="3931675"/>
              <a:ext cx="36946840" cy="884976"/>
            </a:xfrm>
            <a:prstGeom prst="rect">
              <a:avLst/>
            </a:prstGeom>
          </p:spPr>
          <p:txBody>
            <a:bodyPr wrap="square" lIns="0" tIns="0" rIns="0" bIns="0">
              <a:noAutofit/>
            </a:bodyPr>
            <a:lstStyle/>
            <a:p>
              <a:pPr lvl="0" defTabSz="913523">
                <a:defRPr/>
              </a:pPr>
              <a:r>
                <a:rPr lang="en-US" sz="1800">
                  <a:cs typeface="Segoe UI Semilight"/>
                </a:rPr>
                <a:t>Power Automate is the</a:t>
              </a:r>
              <a:br>
                <a:rPr lang="en-US" sz="1800">
                  <a:cs typeface="Segoe UI Semilight"/>
                </a:rPr>
              </a:br>
              <a:r>
                <a:rPr lang="en-US" sz="1800">
                  <a:cs typeface="Segoe UI Semilight"/>
                </a:rPr>
                <a:t>automation service for</a:t>
              </a:r>
              <a:br>
                <a:rPr lang="en-US" sz="1800">
                  <a:cs typeface="Segoe UI Semilight"/>
                </a:rPr>
              </a:br>
              <a:r>
                <a:rPr lang="en-US" sz="1800">
                  <a:cs typeface="Segoe UI Semilight"/>
                </a:rPr>
                <a:t>everyone in your</a:t>
              </a:r>
              <a:br>
                <a:rPr lang="en-US" sz="1800">
                  <a:cs typeface="Segoe UI Semilight"/>
                </a:rPr>
              </a:br>
              <a:r>
                <a:rPr lang="en-US" sz="1800">
                  <a:cs typeface="Segoe UI Semilight"/>
                </a:rPr>
                <a:t>organization</a:t>
              </a:r>
            </a:p>
          </p:txBody>
        </p:sp>
      </p:grpSp>
      <p:cxnSp>
        <p:nvCxnSpPr>
          <p:cNvPr id="11" name="Straight Connector 10">
            <a:extLst>
              <a:ext uri="{FF2B5EF4-FFF2-40B4-BE49-F238E27FC236}">
                <a16:creationId xmlns:a16="http://schemas.microsoft.com/office/drawing/2014/main" id="{0F15772A-1363-4E24-92F6-CB9887145860}"/>
              </a:ext>
            </a:extLst>
          </p:cNvPr>
          <p:cNvCxnSpPr>
            <a:cxnSpLocks/>
          </p:cNvCxnSpPr>
          <p:nvPr/>
        </p:nvCxnSpPr>
        <p:spPr>
          <a:xfrm>
            <a:off x="6546881" y="4305300"/>
            <a:ext cx="0" cy="668338"/>
          </a:xfrm>
          <a:prstGeom prst="line">
            <a:avLst/>
          </a:prstGeom>
          <a:ln w="635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679C33B-96D8-4D7D-9EBD-3C67DEE86EE1}"/>
              </a:ext>
            </a:extLst>
          </p:cNvPr>
          <p:cNvCxnSpPr>
            <a:cxnSpLocks/>
          </p:cNvCxnSpPr>
          <p:nvPr/>
        </p:nvCxnSpPr>
        <p:spPr>
          <a:xfrm>
            <a:off x="9251981" y="4305300"/>
            <a:ext cx="0" cy="668338"/>
          </a:xfrm>
          <a:prstGeom prst="line">
            <a:avLst/>
          </a:prstGeom>
          <a:ln w="635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69AC5E28-A389-43D6-8334-6387193F1F8E}"/>
              </a:ext>
            </a:extLst>
          </p:cNvPr>
          <p:cNvGrpSpPr/>
          <p:nvPr/>
        </p:nvGrpSpPr>
        <p:grpSpPr>
          <a:xfrm>
            <a:off x="4203761" y="2461394"/>
            <a:ext cx="1981140" cy="2724175"/>
            <a:chOff x="4203761" y="2461394"/>
            <a:chExt cx="1981140" cy="2724175"/>
          </a:xfrm>
        </p:grpSpPr>
        <p:sp>
          <p:nvSpPr>
            <p:cNvPr id="7" name="Rectangle 6">
              <a:extLst>
                <a:ext uri="{FF2B5EF4-FFF2-40B4-BE49-F238E27FC236}">
                  <a16:creationId xmlns:a16="http://schemas.microsoft.com/office/drawing/2014/main" id="{9AB639EE-1833-4F9B-8651-D29BD6EBDF38}"/>
                </a:ext>
              </a:extLst>
            </p:cNvPr>
            <p:cNvSpPr/>
            <p:nvPr/>
          </p:nvSpPr>
          <p:spPr bwMode="auto">
            <a:xfrm>
              <a:off x="4203761" y="4093369"/>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accent1"/>
                  </a:solidFill>
                  <a:latin typeface="+mj-lt"/>
                  <a:ea typeface="Segoe UI" pitchFamily="34" charset="0"/>
                  <a:cs typeface="Segoe UI" pitchFamily="34" charset="0"/>
                </a:rPr>
                <a:t>End Users</a:t>
              </a:r>
            </a:p>
          </p:txBody>
        </p:sp>
        <p:grpSp>
          <p:nvGrpSpPr>
            <p:cNvPr id="92" name="Group 91">
              <a:extLst>
                <a:ext uri="{FF2B5EF4-FFF2-40B4-BE49-F238E27FC236}">
                  <a16:creationId xmlns:a16="http://schemas.microsoft.com/office/drawing/2014/main" id="{210EBA00-9B40-47CC-83BF-50F7E33B5DC6}"/>
                </a:ext>
              </a:extLst>
            </p:cNvPr>
            <p:cNvGrpSpPr/>
            <p:nvPr/>
          </p:nvGrpSpPr>
          <p:grpSpPr>
            <a:xfrm>
              <a:off x="4638846" y="2461394"/>
              <a:ext cx="1110970" cy="1110970"/>
              <a:chOff x="4638846" y="2461394"/>
              <a:chExt cx="1110970" cy="1110970"/>
            </a:xfrm>
          </p:grpSpPr>
          <p:sp>
            <p:nvSpPr>
              <p:cNvPr id="64" name="Diamond 63">
                <a:extLst>
                  <a:ext uri="{FF2B5EF4-FFF2-40B4-BE49-F238E27FC236}">
                    <a16:creationId xmlns:a16="http://schemas.microsoft.com/office/drawing/2014/main" id="{2268CE81-7BE2-47F7-9497-406687A42F71}"/>
                  </a:ext>
                </a:extLst>
              </p:cNvPr>
              <p:cNvSpPr/>
              <p:nvPr/>
            </p:nvSpPr>
            <p:spPr bwMode="auto">
              <a:xfrm rot="16200000">
                <a:off x="46388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91" name="people_12" title="Icon of three people">
                <a:extLst>
                  <a:ext uri="{FF2B5EF4-FFF2-40B4-BE49-F238E27FC236}">
                    <a16:creationId xmlns:a16="http://schemas.microsoft.com/office/drawing/2014/main" id="{64EB8519-185E-4AAA-BCCA-7EB4DAC253CD}"/>
                  </a:ext>
                </a:extLst>
              </p:cNvPr>
              <p:cNvSpPr>
                <a:spLocks noChangeAspect="1" noEditPoints="1"/>
              </p:cNvSpPr>
              <p:nvPr/>
            </p:nvSpPr>
            <p:spPr bwMode="auto">
              <a:xfrm>
                <a:off x="4979979" y="2806167"/>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9" name="Group 108">
            <a:extLst>
              <a:ext uri="{FF2B5EF4-FFF2-40B4-BE49-F238E27FC236}">
                <a16:creationId xmlns:a16="http://schemas.microsoft.com/office/drawing/2014/main" id="{19D88753-9745-4942-A402-6E11BF81E1BB}"/>
              </a:ext>
            </a:extLst>
          </p:cNvPr>
          <p:cNvGrpSpPr/>
          <p:nvPr/>
        </p:nvGrpSpPr>
        <p:grpSpPr>
          <a:xfrm>
            <a:off x="6908861" y="2461394"/>
            <a:ext cx="1981140" cy="2724175"/>
            <a:chOff x="6908861" y="2461394"/>
            <a:chExt cx="1981140" cy="2724175"/>
          </a:xfrm>
        </p:grpSpPr>
        <p:sp>
          <p:nvSpPr>
            <p:cNvPr id="75" name="Rectangle 74">
              <a:extLst>
                <a:ext uri="{FF2B5EF4-FFF2-40B4-BE49-F238E27FC236}">
                  <a16:creationId xmlns:a16="http://schemas.microsoft.com/office/drawing/2014/main" id="{B3F00A07-0699-49B9-93DA-0583FB92629B}"/>
                </a:ext>
              </a:extLst>
            </p:cNvPr>
            <p:cNvSpPr/>
            <p:nvPr/>
          </p:nvSpPr>
          <p:spPr bwMode="auto">
            <a:xfrm>
              <a:off x="6908861" y="4093369"/>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accent1"/>
                  </a:solidFill>
                  <a:latin typeface="+mj-lt"/>
                  <a:ea typeface="Segoe UI" pitchFamily="34" charset="0"/>
                  <a:cs typeface="Segoe UI" pitchFamily="34" charset="0"/>
                </a:rPr>
                <a:t>Experienced Developers</a:t>
              </a:r>
            </a:p>
          </p:txBody>
        </p:sp>
        <p:grpSp>
          <p:nvGrpSpPr>
            <p:cNvPr id="104" name="Group 103">
              <a:extLst>
                <a:ext uri="{FF2B5EF4-FFF2-40B4-BE49-F238E27FC236}">
                  <a16:creationId xmlns:a16="http://schemas.microsoft.com/office/drawing/2014/main" id="{061894E3-1ECA-4C36-81AE-4EA8EFFE5A22}"/>
                </a:ext>
              </a:extLst>
            </p:cNvPr>
            <p:cNvGrpSpPr/>
            <p:nvPr/>
          </p:nvGrpSpPr>
          <p:grpSpPr>
            <a:xfrm>
              <a:off x="7343946" y="2461394"/>
              <a:ext cx="1110970" cy="1110970"/>
              <a:chOff x="7343946" y="2461394"/>
              <a:chExt cx="1110970" cy="1110970"/>
            </a:xfrm>
          </p:grpSpPr>
          <p:sp>
            <p:nvSpPr>
              <p:cNvPr id="80" name="Diamond 79">
                <a:extLst>
                  <a:ext uri="{FF2B5EF4-FFF2-40B4-BE49-F238E27FC236}">
                    <a16:creationId xmlns:a16="http://schemas.microsoft.com/office/drawing/2014/main" id="{88B81499-0E9B-4EC9-A999-FF83FCED4896}"/>
                  </a:ext>
                </a:extLst>
              </p:cNvPr>
              <p:cNvSpPr/>
              <p:nvPr/>
            </p:nvSpPr>
            <p:spPr bwMode="auto">
              <a:xfrm rot="16200000">
                <a:off x="73439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96" name="Group 95">
                <a:extLst>
                  <a:ext uri="{FF2B5EF4-FFF2-40B4-BE49-F238E27FC236}">
                    <a16:creationId xmlns:a16="http://schemas.microsoft.com/office/drawing/2014/main" id="{5FE72D6E-08D9-465B-A904-81163B944DAF}"/>
                  </a:ext>
                </a:extLst>
              </p:cNvPr>
              <p:cNvGrpSpPr/>
              <p:nvPr/>
            </p:nvGrpSpPr>
            <p:grpSpPr>
              <a:xfrm>
                <a:off x="7679759" y="2769633"/>
                <a:ext cx="439344" cy="438828"/>
                <a:chOff x="7764062" y="2809875"/>
                <a:chExt cx="439344" cy="438828"/>
              </a:xfrm>
            </p:grpSpPr>
            <p:sp>
              <p:nvSpPr>
                <p:cNvPr id="93" name="people_4" title="Icon of a person">
                  <a:extLst>
                    <a:ext uri="{FF2B5EF4-FFF2-40B4-BE49-F238E27FC236}">
                      <a16:creationId xmlns:a16="http://schemas.microsoft.com/office/drawing/2014/main" id="{35B44C51-733B-4149-BD34-8ED043581A95}"/>
                    </a:ext>
                  </a:extLst>
                </p:cNvPr>
                <p:cNvSpPr>
                  <a:spLocks noChangeAspect="1" noEditPoints="1"/>
                </p:cNvSpPr>
                <p:nvPr/>
              </p:nvSpPr>
              <p:spPr bwMode="auto">
                <a:xfrm>
                  <a:off x="7764062" y="2809875"/>
                  <a:ext cx="270738" cy="3026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Flowchart: Connector 93">
                  <a:extLst>
                    <a:ext uri="{FF2B5EF4-FFF2-40B4-BE49-F238E27FC236}">
                      <a16:creationId xmlns:a16="http://schemas.microsoft.com/office/drawing/2014/main" id="{AAA2729C-98B6-4921-AF79-15276F2C5B4A}"/>
                    </a:ext>
                  </a:extLst>
                </p:cNvPr>
                <p:cNvSpPr/>
                <p:nvPr/>
              </p:nvSpPr>
              <p:spPr bwMode="auto">
                <a:xfrm>
                  <a:off x="7970046" y="3015343"/>
                  <a:ext cx="233360" cy="23336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95" name="Embed_ECCE" title="Icon of two chevron brackets around a backslash">
                  <a:extLst>
                    <a:ext uri="{FF2B5EF4-FFF2-40B4-BE49-F238E27FC236}">
                      <a16:creationId xmlns:a16="http://schemas.microsoft.com/office/drawing/2014/main" id="{10BC960D-56F8-4A67-BCA9-89A560F7F812}"/>
                    </a:ext>
                  </a:extLst>
                </p:cNvPr>
                <p:cNvSpPr>
                  <a:spLocks noChangeAspect="1" noEditPoints="1"/>
                </p:cNvSpPr>
                <p:nvPr/>
              </p:nvSpPr>
              <p:spPr bwMode="auto">
                <a:xfrm>
                  <a:off x="7979571" y="3040142"/>
                  <a:ext cx="214310" cy="183762"/>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grpSp>
      <p:grpSp>
        <p:nvGrpSpPr>
          <p:cNvPr id="110" name="Group 109">
            <a:extLst>
              <a:ext uri="{FF2B5EF4-FFF2-40B4-BE49-F238E27FC236}">
                <a16:creationId xmlns:a16="http://schemas.microsoft.com/office/drawing/2014/main" id="{7A622D1B-DFF8-4A24-ACDD-70790DE61F45}"/>
              </a:ext>
            </a:extLst>
          </p:cNvPr>
          <p:cNvGrpSpPr/>
          <p:nvPr/>
        </p:nvGrpSpPr>
        <p:grpSpPr>
          <a:xfrm>
            <a:off x="9613961" y="2461394"/>
            <a:ext cx="1981140" cy="2724175"/>
            <a:chOff x="9613961" y="2461394"/>
            <a:chExt cx="1981140" cy="2724175"/>
          </a:xfrm>
        </p:grpSpPr>
        <p:sp>
          <p:nvSpPr>
            <p:cNvPr id="81" name="Rectangle 80">
              <a:extLst>
                <a:ext uri="{FF2B5EF4-FFF2-40B4-BE49-F238E27FC236}">
                  <a16:creationId xmlns:a16="http://schemas.microsoft.com/office/drawing/2014/main" id="{62585AFE-D835-4F59-BC1C-5FBDB00100B3}"/>
                </a:ext>
              </a:extLst>
            </p:cNvPr>
            <p:cNvSpPr/>
            <p:nvPr/>
          </p:nvSpPr>
          <p:spPr bwMode="auto">
            <a:xfrm>
              <a:off x="9613961" y="4093369"/>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accent1"/>
                  </a:solidFill>
                  <a:latin typeface="+mj-lt"/>
                  <a:ea typeface="Segoe UI" pitchFamily="34" charset="0"/>
                  <a:cs typeface="Segoe UI" pitchFamily="34" charset="0"/>
                </a:rPr>
                <a:t>IT/Admins</a:t>
              </a:r>
            </a:p>
          </p:txBody>
        </p:sp>
        <p:grpSp>
          <p:nvGrpSpPr>
            <p:cNvPr id="103" name="Group 102">
              <a:extLst>
                <a:ext uri="{FF2B5EF4-FFF2-40B4-BE49-F238E27FC236}">
                  <a16:creationId xmlns:a16="http://schemas.microsoft.com/office/drawing/2014/main" id="{C8A10127-321A-4BE8-9E95-7AA9F168447A}"/>
                </a:ext>
              </a:extLst>
            </p:cNvPr>
            <p:cNvGrpSpPr/>
            <p:nvPr/>
          </p:nvGrpSpPr>
          <p:grpSpPr>
            <a:xfrm>
              <a:off x="10049046" y="2461394"/>
              <a:ext cx="1110970" cy="1110970"/>
              <a:chOff x="10049046" y="2461394"/>
              <a:chExt cx="1110970" cy="1110970"/>
            </a:xfrm>
          </p:grpSpPr>
          <p:sp>
            <p:nvSpPr>
              <p:cNvPr id="86" name="Diamond 85">
                <a:extLst>
                  <a:ext uri="{FF2B5EF4-FFF2-40B4-BE49-F238E27FC236}">
                    <a16:creationId xmlns:a16="http://schemas.microsoft.com/office/drawing/2014/main" id="{6E2EBF77-9546-4336-89F5-93713A8F7F00}"/>
                  </a:ext>
                </a:extLst>
              </p:cNvPr>
              <p:cNvSpPr/>
              <p:nvPr/>
            </p:nvSpPr>
            <p:spPr bwMode="auto">
              <a:xfrm rot="16200000">
                <a:off x="100490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97" name="Group 96">
                <a:extLst>
                  <a:ext uri="{FF2B5EF4-FFF2-40B4-BE49-F238E27FC236}">
                    <a16:creationId xmlns:a16="http://schemas.microsoft.com/office/drawing/2014/main" id="{22D2B41F-9C55-412D-92A8-AD8BDA517C36}"/>
                  </a:ext>
                </a:extLst>
              </p:cNvPr>
              <p:cNvGrpSpPr/>
              <p:nvPr/>
            </p:nvGrpSpPr>
            <p:grpSpPr>
              <a:xfrm>
                <a:off x="10345477" y="2839855"/>
                <a:ext cx="518109" cy="298385"/>
                <a:chOff x="687395" y="4072360"/>
                <a:chExt cx="518109" cy="298385"/>
              </a:xfrm>
            </p:grpSpPr>
            <p:sp>
              <p:nvSpPr>
                <p:cNvPr id="98" name="Freeform: Shape 97">
                  <a:extLst>
                    <a:ext uri="{FF2B5EF4-FFF2-40B4-BE49-F238E27FC236}">
                      <a16:creationId xmlns:a16="http://schemas.microsoft.com/office/drawing/2014/main" id="{1D572C69-3E17-472F-83B7-7CBAE63AA0CE}"/>
                    </a:ext>
                  </a:extLst>
                </p:cNvPr>
                <p:cNvSpPr/>
                <p:nvPr/>
              </p:nvSpPr>
              <p:spPr>
                <a:xfrm>
                  <a:off x="687395" y="4072360"/>
                  <a:ext cx="244135" cy="29838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99" name="Freeform: Shape 98">
                  <a:extLst>
                    <a:ext uri="{FF2B5EF4-FFF2-40B4-BE49-F238E27FC236}">
                      <a16:creationId xmlns:a16="http://schemas.microsoft.com/office/drawing/2014/main" id="{A6D74B37-F466-485E-87B0-4DB1AD3A626F}"/>
                    </a:ext>
                  </a:extLst>
                </p:cNvPr>
                <p:cNvSpPr/>
                <p:nvPr/>
              </p:nvSpPr>
              <p:spPr>
                <a:xfrm>
                  <a:off x="879991" y="4109433"/>
                  <a:ext cx="244135" cy="180839"/>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00" name="Freeform: Shape 99">
                  <a:extLst>
                    <a:ext uri="{FF2B5EF4-FFF2-40B4-BE49-F238E27FC236}">
                      <a16:creationId xmlns:a16="http://schemas.microsoft.com/office/drawing/2014/main" id="{4EA16885-671E-4928-A215-D7C7CA2E5A0E}"/>
                    </a:ext>
                  </a:extLst>
                </p:cNvPr>
                <p:cNvSpPr/>
                <p:nvPr/>
              </p:nvSpPr>
              <p:spPr>
                <a:xfrm>
                  <a:off x="1078916" y="4144696"/>
                  <a:ext cx="126588" cy="20796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01" name="Freeform: Shape 100">
                  <a:extLst>
                    <a:ext uri="{FF2B5EF4-FFF2-40B4-BE49-F238E27FC236}">
                      <a16:creationId xmlns:a16="http://schemas.microsoft.com/office/drawing/2014/main" id="{3CF600D6-B2F8-40EA-9B28-2FAD80DEFF88}"/>
                    </a:ext>
                  </a:extLst>
                </p:cNvPr>
                <p:cNvSpPr/>
                <p:nvPr/>
              </p:nvSpPr>
              <p:spPr>
                <a:xfrm>
                  <a:off x="918871" y="4282134"/>
                  <a:ext cx="126588" cy="72336"/>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02" name="Freeform: Shape 101">
                  <a:extLst>
                    <a:ext uri="{FF2B5EF4-FFF2-40B4-BE49-F238E27FC236}">
                      <a16:creationId xmlns:a16="http://schemas.microsoft.com/office/drawing/2014/main" id="{3D9E14CA-3A16-4507-9F03-F97B583AE518}"/>
                    </a:ext>
                  </a:extLst>
                </p:cNvPr>
                <p:cNvSpPr/>
                <p:nvPr/>
              </p:nvSpPr>
              <p:spPr>
                <a:xfrm>
                  <a:off x="1115084" y="4207990"/>
                  <a:ext cx="90420" cy="63294"/>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sp>
        <p:nvSpPr>
          <p:cNvPr id="2" name="Title 1">
            <a:extLst>
              <a:ext uri="{FF2B5EF4-FFF2-40B4-BE49-F238E27FC236}">
                <a16:creationId xmlns:a16="http://schemas.microsoft.com/office/drawing/2014/main" id="{BB0412AF-947A-4552-AA80-492187176674}"/>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937AC3B8-BE4D-4785-838B-55F0538CECCC}"/>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379390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42" presetClass="path" presetSubtype="0" decel="100000" fill="hold" nodeType="withEffect">
                                  <p:stCondLst>
                                    <p:cond delay="0"/>
                                  </p:stCondLst>
                                  <p:childTnLst>
                                    <p:animMotion origin="layout" path="M 1.04167E-6 2.22222E-6 L 1.04167E-6 0.03541 " pathEditMode="relative" rAng="0" ptsTypes="AA">
                                      <p:cBhvr>
                                        <p:cTn id="9" dur="700" spd="-100000" fill="hold"/>
                                        <p:tgtEl>
                                          <p:spTgt spid="108"/>
                                        </p:tgtEl>
                                        <p:attrNameLst>
                                          <p:attrName>ppt_x</p:attrName>
                                          <p:attrName>ppt_y</p:attrName>
                                        </p:attrNameLst>
                                      </p:cBhvr>
                                      <p:rCtr x="0" y="1782"/>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25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42" presetClass="path" presetSubtype="0" decel="100000" fill="hold" nodeType="withEffect">
                                  <p:stCondLst>
                                    <p:cond delay="0"/>
                                  </p:stCondLst>
                                  <p:childTnLst>
                                    <p:animMotion origin="layout" path="M 1.04167E-6 2.22222E-6 L 1.04167E-6 0.03541 " pathEditMode="relative" rAng="0" ptsTypes="AA">
                                      <p:cBhvr>
                                        <p:cTn id="18" dur="700" spd="-100000" fill="hold"/>
                                        <p:tgtEl>
                                          <p:spTgt spid="109"/>
                                        </p:tgtEl>
                                        <p:attrNameLst>
                                          <p:attrName>ppt_x</p:attrName>
                                          <p:attrName>ppt_y</p:attrName>
                                        </p:attrNameLst>
                                      </p:cBhvr>
                                      <p:rCtr x="0" y="1782"/>
                                    </p:animMotion>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par>
                                <p:cTn id="23" presetID="10" presetClass="entr" presetSubtype="0" fill="hold" nodeType="withEffect">
                                  <p:stCondLst>
                                    <p:cond delay="250"/>
                                  </p:stCondLst>
                                  <p:childTnLst>
                                    <p:set>
                                      <p:cBhvr>
                                        <p:cTn id="24" dur="1" fill="hold">
                                          <p:stCondLst>
                                            <p:cond delay="0"/>
                                          </p:stCondLst>
                                        </p:cTn>
                                        <p:tgtEl>
                                          <p:spTgt spid="110"/>
                                        </p:tgtEl>
                                        <p:attrNameLst>
                                          <p:attrName>style.visibility</p:attrName>
                                        </p:attrNameLst>
                                      </p:cBhvr>
                                      <p:to>
                                        <p:strVal val="visible"/>
                                      </p:to>
                                    </p:set>
                                    <p:animEffect transition="in" filter="fade">
                                      <p:cBhvr>
                                        <p:cTn id="25" dur="500"/>
                                        <p:tgtEl>
                                          <p:spTgt spid="110"/>
                                        </p:tgtEl>
                                      </p:cBhvr>
                                    </p:animEffect>
                                  </p:childTnLst>
                                </p:cTn>
                              </p:par>
                              <p:par>
                                <p:cTn id="26" presetID="42" presetClass="path" presetSubtype="0" decel="100000" fill="hold" nodeType="withEffect">
                                  <p:stCondLst>
                                    <p:cond delay="0"/>
                                  </p:stCondLst>
                                  <p:childTnLst>
                                    <p:animMotion origin="layout" path="M 1.04167E-6 2.22222E-6 L 1.04167E-6 0.03541 " pathEditMode="relative" rAng="0" ptsTypes="AA">
                                      <p:cBhvr>
                                        <p:cTn id="27" dur="700" spd="-100000" fill="hold"/>
                                        <p:tgtEl>
                                          <p:spTgt spid="110"/>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Low code</a:t>
            </a:r>
          </a:p>
        </p:txBody>
      </p:sp>
      <p:sp>
        <p:nvSpPr>
          <p:cNvPr id="6" name="Text Placeholder 5"/>
          <p:cNvSpPr>
            <a:spLocks noGrp="1"/>
          </p:cNvSpPr>
          <p:nvPr>
            <p:ph idx="1"/>
          </p:nvPr>
        </p:nvSpPr>
        <p:spPr/>
        <p:txBody>
          <a:bodyPr>
            <a:normAutofit fontScale="92500" lnSpcReduction="10000"/>
          </a:bodyPr>
          <a:lstStyle/>
          <a:p>
            <a:r>
              <a:rPr lang="en-US" b="1"/>
              <a:t>Lower barrier to entry </a:t>
            </a:r>
            <a:r>
              <a:rPr lang="en-US"/>
              <a:t>– User interface guides experience</a:t>
            </a:r>
          </a:p>
          <a:p>
            <a:endParaRPr lang="en-US"/>
          </a:p>
          <a:p>
            <a:r>
              <a:rPr lang="en-US" b="1"/>
              <a:t>Speed</a:t>
            </a:r>
            <a:r>
              <a:rPr lang="en-US"/>
              <a:t> - Faster iteration by drag-and-drop</a:t>
            </a:r>
          </a:p>
          <a:p>
            <a:endParaRPr lang="en-US"/>
          </a:p>
          <a:p>
            <a:r>
              <a:rPr lang="en-US" b="1"/>
              <a:t>Debuggability</a:t>
            </a:r>
            <a:r>
              <a:rPr lang="en-US"/>
              <a:t> - Ability to see full execution history</a:t>
            </a:r>
          </a:p>
          <a:p>
            <a:endParaRPr lang="en-US"/>
          </a:p>
          <a:p>
            <a:r>
              <a:rPr lang="en-US" b="1"/>
              <a:t>Documentation</a:t>
            </a:r>
            <a:r>
              <a:rPr lang="en-US"/>
              <a:t> – Easier for other people to pick it up</a:t>
            </a:r>
            <a:endParaRPr lang="en-US" b="1"/>
          </a:p>
          <a:p>
            <a:endParaRPr lang="en-US"/>
          </a:p>
        </p:txBody>
      </p:sp>
    </p:spTree>
    <p:extLst>
      <p:ext uri="{BB962C8B-B14F-4D97-AF65-F5344CB8AC3E}">
        <p14:creationId xmlns:p14="http://schemas.microsoft.com/office/powerpoint/2010/main" val="377256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a:extLst>
              <a:ext uri="{FF2B5EF4-FFF2-40B4-BE49-F238E27FC236}">
                <a16:creationId xmlns:a16="http://schemas.microsoft.com/office/drawing/2014/main" id="{C9CBCB3D-3D09-4D33-9A8A-9871EABD12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50" name="Object 49" hidden="1">
                        <a:extLst>
                          <a:ext uri="{FF2B5EF4-FFF2-40B4-BE49-F238E27FC236}">
                            <a16:creationId xmlns:a16="http://schemas.microsoft.com/office/drawing/2014/main" id="{C9CBCB3D-3D09-4D33-9A8A-9871EABD12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FE3C53AF-6F4B-41BA-A4E5-10DE82A387EF}"/>
              </a:ext>
            </a:extLst>
          </p:cNvPr>
          <p:cNvGrpSpPr/>
          <p:nvPr/>
        </p:nvGrpSpPr>
        <p:grpSpPr>
          <a:xfrm>
            <a:off x="5818133" y="514127"/>
            <a:ext cx="6373867" cy="5829746"/>
            <a:chOff x="5818133" y="514127"/>
            <a:chExt cx="6373867" cy="5829746"/>
          </a:xfrm>
        </p:grpSpPr>
        <p:sp>
          <p:nvSpPr>
            <p:cNvPr id="143" name="Rectangle: Rounded Corners 142">
              <a:extLst>
                <a:ext uri="{FF2B5EF4-FFF2-40B4-BE49-F238E27FC236}">
                  <a16:creationId xmlns:a16="http://schemas.microsoft.com/office/drawing/2014/main" id="{06B940ED-9B94-4635-97B7-59E736DC25ED}"/>
                </a:ext>
              </a:extLst>
            </p:cNvPr>
            <p:cNvSpPr/>
            <p:nvPr/>
          </p:nvSpPr>
          <p:spPr bwMode="auto">
            <a:xfrm>
              <a:off x="5818133" y="514127"/>
              <a:ext cx="6373867" cy="5829746"/>
            </a:xfrm>
            <a:prstGeom prst="roundRect">
              <a:avLst>
                <a:gd name="adj" fmla="val 0"/>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pSp>
          <p:nvGrpSpPr>
            <p:cNvPr id="145" name="Group 144">
              <a:extLst>
                <a:ext uri="{FF2B5EF4-FFF2-40B4-BE49-F238E27FC236}">
                  <a16:creationId xmlns:a16="http://schemas.microsoft.com/office/drawing/2014/main" id="{9B0A63B1-BD7A-48F1-AC72-E854063795E5}"/>
                </a:ext>
              </a:extLst>
            </p:cNvPr>
            <p:cNvGrpSpPr/>
            <p:nvPr/>
          </p:nvGrpSpPr>
          <p:grpSpPr>
            <a:xfrm>
              <a:off x="6268075" y="724955"/>
              <a:ext cx="5473982" cy="5408090"/>
              <a:chOff x="5682722" y="191385"/>
              <a:chExt cx="6518587" cy="6440121"/>
            </a:xfrm>
          </p:grpSpPr>
          <p:pic>
            <p:nvPicPr>
              <p:cNvPr id="146" name="Picture 145">
                <a:extLst>
                  <a:ext uri="{FF2B5EF4-FFF2-40B4-BE49-F238E27FC236}">
                    <a16:creationId xmlns:a16="http://schemas.microsoft.com/office/drawing/2014/main" id="{3AD13214-0510-4907-BD0E-C0BE3A40251C}"/>
                  </a:ext>
                </a:extLst>
              </p:cNvPr>
              <p:cNvPicPr>
                <a:picLocks noChangeAspect="1"/>
              </p:cNvPicPr>
              <p:nvPr/>
            </p:nvPicPr>
            <p:blipFill>
              <a:blip r:embed="rId7"/>
              <a:stretch>
                <a:fillRect/>
              </a:stretch>
            </p:blipFill>
            <p:spPr>
              <a:xfrm>
                <a:off x="5698196" y="191385"/>
                <a:ext cx="723900" cy="723900"/>
              </a:xfrm>
              <a:prstGeom prst="rect">
                <a:avLst/>
              </a:prstGeom>
            </p:spPr>
          </p:pic>
          <p:pic>
            <p:nvPicPr>
              <p:cNvPr id="147" name="Picture 146">
                <a:extLst>
                  <a:ext uri="{FF2B5EF4-FFF2-40B4-BE49-F238E27FC236}">
                    <a16:creationId xmlns:a16="http://schemas.microsoft.com/office/drawing/2014/main" id="{5A1CD0A0-1760-44E9-9F86-D0825C3EFEEF}"/>
                  </a:ext>
                </a:extLst>
              </p:cNvPr>
              <p:cNvPicPr>
                <a:picLocks noChangeAspect="1"/>
              </p:cNvPicPr>
              <p:nvPr/>
            </p:nvPicPr>
            <p:blipFill>
              <a:blip r:embed="rId8"/>
              <a:stretch>
                <a:fillRect/>
              </a:stretch>
            </p:blipFill>
            <p:spPr>
              <a:xfrm>
                <a:off x="6422096" y="912417"/>
                <a:ext cx="723900" cy="723900"/>
              </a:xfrm>
              <a:prstGeom prst="rect">
                <a:avLst/>
              </a:prstGeom>
            </p:spPr>
          </p:pic>
          <p:pic>
            <p:nvPicPr>
              <p:cNvPr id="148" name="Picture 147">
                <a:extLst>
                  <a:ext uri="{FF2B5EF4-FFF2-40B4-BE49-F238E27FC236}">
                    <a16:creationId xmlns:a16="http://schemas.microsoft.com/office/drawing/2014/main" id="{B35C2227-3811-4BB2-A882-B1636DB6FA42}"/>
                  </a:ext>
                </a:extLst>
              </p:cNvPr>
              <p:cNvPicPr>
                <a:picLocks noChangeAspect="1"/>
              </p:cNvPicPr>
              <p:nvPr/>
            </p:nvPicPr>
            <p:blipFill>
              <a:blip r:embed="rId9"/>
              <a:stretch>
                <a:fillRect/>
              </a:stretch>
            </p:blipFill>
            <p:spPr>
              <a:xfrm>
                <a:off x="7145996" y="194775"/>
                <a:ext cx="723900" cy="723900"/>
              </a:xfrm>
              <a:prstGeom prst="rect">
                <a:avLst/>
              </a:prstGeom>
            </p:spPr>
          </p:pic>
          <p:pic>
            <p:nvPicPr>
              <p:cNvPr id="149" name="Picture 148">
                <a:extLst>
                  <a:ext uri="{FF2B5EF4-FFF2-40B4-BE49-F238E27FC236}">
                    <a16:creationId xmlns:a16="http://schemas.microsoft.com/office/drawing/2014/main" id="{D61ADDAC-D683-4394-A7E3-1E8C26A4BFCC}"/>
                  </a:ext>
                </a:extLst>
              </p:cNvPr>
              <p:cNvPicPr>
                <a:picLocks noChangeAspect="1"/>
              </p:cNvPicPr>
              <p:nvPr/>
            </p:nvPicPr>
            <p:blipFill>
              <a:blip r:embed="rId10"/>
              <a:stretch>
                <a:fillRect/>
              </a:stretch>
            </p:blipFill>
            <p:spPr>
              <a:xfrm>
                <a:off x="7869896" y="918675"/>
                <a:ext cx="723900" cy="723900"/>
              </a:xfrm>
              <a:prstGeom prst="rect">
                <a:avLst/>
              </a:prstGeom>
            </p:spPr>
          </p:pic>
          <p:pic>
            <p:nvPicPr>
              <p:cNvPr id="150" name="Picture 149">
                <a:extLst>
                  <a:ext uri="{FF2B5EF4-FFF2-40B4-BE49-F238E27FC236}">
                    <a16:creationId xmlns:a16="http://schemas.microsoft.com/office/drawing/2014/main" id="{96717976-4AE1-4FE7-BE98-C6ABBAA61523}"/>
                  </a:ext>
                </a:extLst>
              </p:cNvPr>
              <p:cNvPicPr>
                <a:picLocks noChangeAspect="1"/>
              </p:cNvPicPr>
              <p:nvPr/>
            </p:nvPicPr>
            <p:blipFill>
              <a:blip r:embed="rId11"/>
              <a:stretch>
                <a:fillRect/>
              </a:stretch>
            </p:blipFill>
            <p:spPr>
              <a:xfrm>
                <a:off x="8583636" y="198677"/>
                <a:ext cx="723900" cy="723900"/>
              </a:xfrm>
              <a:prstGeom prst="rect">
                <a:avLst/>
              </a:prstGeom>
            </p:spPr>
          </p:pic>
          <p:pic>
            <p:nvPicPr>
              <p:cNvPr id="151" name="Picture 150">
                <a:extLst>
                  <a:ext uri="{FF2B5EF4-FFF2-40B4-BE49-F238E27FC236}">
                    <a16:creationId xmlns:a16="http://schemas.microsoft.com/office/drawing/2014/main" id="{24D9500D-2808-4E5E-90C2-90E4AB4C63E5}"/>
                  </a:ext>
                </a:extLst>
              </p:cNvPr>
              <p:cNvPicPr>
                <a:picLocks noChangeAspect="1"/>
              </p:cNvPicPr>
              <p:nvPr/>
            </p:nvPicPr>
            <p:blipFill>
              <a:blip r:embed="rId12"/>
              <a:stretch>
                <a:fillRect/>
              </a:stretch>
            </p:blipFill>
            <p:spPr>
              <a:xfrm>
                <a:off x="9307536" y="922577"/>
                <a:ext cx="723900" cy="723900"/>
              </a:xfrm>
              <a:prstGeom prst="rect">
                <a:avLst/>
              </a:prstGeom>
            </p:spPr>
          </p:pic>
          <p:pic>
            <p:nvPicPr>
              <p:cNvPr id="152" name="Picture 151">
                <a:extLst>
                  <a:ext uri="{FF2B5EF4-FFF2-40B4-BE49-F238E27FC236}">
                    <a16:creationId xmlns:a16="http://schemas.microsoft.com/office/drawing/2014/main" id="{A36AB625-0071-411C-B42E-917632CA868A}"/>
                  </a:ext>
                </a:extLst>
              </p:cNvPr>
              <p:cNvPicPr>
                <a:picLocks noChangeAspect="1"/>
              </p:cNvPicPr>
              <p:nvPr/>
            </p:nvPicPr>
            <p:blipFill>
              <a:blip r:embed="rId13"/>
              <a:stretch>
                <a:fillRect/>
              </a:stretch>
            </p:blipFill>
            <p:spPr>
              <a:xfrm>
                <a:off x="10031436" y="198677"/>
                <a:ext cx="723900" cy="723900"/>
              </a:xfrm>
              <a:prstGeom prst="rect">
                <a:avLst/>
              </a:prstGeom>
            </p:spPr>
          </p:pic>
          <p:pic>
            <p:nvPicPr>
              <p:cNvPr id="153" name="Picture 152">
                <a:extLst>
                  <a:ext uri="{FF2B5EF4-FFF2-40B4-BE49-F238E27FC236}">
                    <a16:creationId xmlns:a16="http://schemas.microsoft.com/office/drawing/2014/main" id="{F769E14C-C84F-438C-87D3-06B72A8079A0}"/>
                  </a:ext>
                </a:extLst>
              </p:cNvPr>
              <p:cNvPicPr>
                <a:picLocks noChangeAspect="1"/>
              </p:cNvPicPr>
              <p:nvPr/>
            </p:nvPicPr>
            <p:blipFill>
              <a:blip r:embed="rId14"/>
              <a:stretch>
                <a:fillRect/>
              </a:stretch>
            </p:blipFill>
            <p:spPr>
              <a:xfrm>
                <a:off x="10757114" y="927281"/>
                <a:ext cx="723900" cy="723900"/>
              </a:xfrm>
              <a:prstGeom prst="rect">
                <a:avLst/>
              </a:prstGeom>
            </p:spPr>
          </p:pic>
          <p:pic>
            <p:nvPicPr>
              <p:cNvPr id="154" name="Picture 153">
                <a:extLst>
                  <a:ext uri="{FF2B5EF4-FFF2-40B4-BE49-F238E27FC236}">
                    <a16:creationId xmlns:a16="http://schemas.microsoft.com/office/drawing/2014/main" id="{43FDE274-18A9-427F-85E6-FCCB61C8949F}"/>
                  </a:ext>
                </a:extLst>
              </p:cNvPr>
              <p:cNvPicPr>
                <a:picLocks noChangeAspect="1"/>
              </p:cNvPicPr>
              <p:nvPr/>
            </p:nvPicPr>
            <p:blipFill>
              <a:blip r:embed="rId15"/>
              <a:stretch>
                <a:fillRect/>
              </a:stretch>
            </p:blipFill>
            <p:spPr>
              <a:xfrm>
                <a:off x="11468100" y="198677"/>
                <a:ext cx="723900" cy="723900"/>
              </a:xfrm>
              <a:prstGeom prst="rect">
                <a:avLst/>
              </a:prstGeom>
            </p:spPr>
          </p:pic>
          <p:pic>
            <p:nvPicPr>
              <p:cNvPr id="155" name="Picture 154">
                <a:extLst>
                  <a:ext uri="{FF2B5EF4-FFF2-40B4-BE49-F238E27FC236}">
                    <a16:creationId xmlns:a16="http://schemas.microsoft.com/office/drawing/2014/main" id="{B9D6EEF7-1C39-42FF-BC86-D0CE54FCECA7}"/>
                  </a:ext>
                </a:extLst>
              </p:cNvPr>
              <p:cNvPicPr>
                <a:picLocks noChangeAspect="1"/>
              </p:cNvPicPr>
              <p:nvPr/>
            </p:nvPicPr>
            <p:blipFill>
              <a:blip r:embed="rId16"/>
              <a:stretch>
                <a:fillRect/>
              </a:stretch>
            </p:blipFill>
            <p:spPr>
              <a:xfrm>
                <a:off x="5698196" y="1639606"/>
                <a:ext cx="723900" cy="723900"/>
              </a:xfrm>
              <a:prstGeom prst="rect">
                <a:avLst/>
              </a:prstGeom>
            </p:spPr>
          </p:pic>
          <p:pic>
            <p:nvPicPr>
              <p:cNvPr id="156" name="Picture 155">
                <a:extLst>
                  <a:ext uri="{FF2B5EF4-FFF2-40B4-BE49-F238E27FC236}">
                    <a16:creationId xmlns:a16="http://schemas.microsoft.com/office/drawing/2014/main" id="{C6FD8626-18F4-4091-B5C9-E7665DE8D9A4}"/>
                  </a:ext>
                </a:extLst>
              </p:cNvPr>
              <p:cNvPicPr>
                <a:picLocks noChangeAspect="1"/>
              </p:cNvPicPr>
              <p:nvPr/>
            </p:nvPicPr>
            <p:blipFill>
              <a:blip r:embed="rId17"/>
              <a:stretch>
                <a:fillRect/>
              </a:stretch>
            </p:blipFill>
            <p:spPr>
              <a:xfrm>
                <a:off x="7129105" y="1623709"/>
                <a:ext cx="738864" cy="738864"/>
              </a:xfrm>
              <a:prstGeom prst="rect">
                <a:avLst/>
              </a:prstGeom>
            </p:spPr>
          </p:pic>
          <p:pic>
            <p:nvPicPr>
              <p:cNvPr id="157" name="Picture 156">
                <a:extLst>
                  <a:ext uri="{FF2B5EF4-FFF2-40B4-BE49-F238E27FC236}">
                    <a16:creationId xmlns:a16="http://schemas.microsoft.com/office/drawing/2014/main" id="{030BD7A3-C68E-490D-895C-20C650A0F34D}"/>
                  </a:ext>
                </a:extLst>
              </p:cNvPr>
              <p:cNvPicPr>
                <a:picLocks noChangeAspect="1"/>
              </p:cNvPicPr>
              <p:nvPr/>
            </p:nvPicPr>
            <p:blipFill>
              <a:blip r:embed="rId18"/>
              <a:stretch>
                <a:fillRect/>
              </a:stretch>
            </p:blipFill>
            <p:spPr>
              <a:xfrm>
                <a:off x="8591869" y="1638810"/>
                <a:ext cx="716096" cy="716096"/>
              </a:xfrm>
              <a:prstGeom prst="rect">
                <a:avLst/>
              </a:prstGeom>
            </p:spPr>
          </p:pic>
          <p:pic>
            <p:nvPicPr>
              <p:cNvPr id="158" name="Picture 157">
                <a:extLst>
                  <a:ext uri="{FF2B5EF4-FFF2-40B4-BE49-F238E27FC236}">
                    <a16:creationId xmlns:a16="http://schemas.microsoft.com/office/drawing/2014/main" id="{52DAE3FB-7ACE-43F1-BED6-F404903BA42B}"/>
                  </a:ext>
                </a:extLst>
              </p:cNvPr>
              <p:cNvPicPr>
                <a:picLocks noChangeAspect="1"/>
              </p:cNvPicPr>
              <p:nvPr/>
            </p:nvPicPr>
            <p:blipFill>
              <a:blip r:embed="rId19"/>
              <a:stretch>
                <a:fillRect/>
              </a:stretch>
            </p:blipFill>
            <p:spPr>
              <a:xfrm>
                <a:off x="10033280" y="1642730"/>
                <a:ext cx="723900" cy="712024"/>
              </a:xfrm>
              <a:prstGeom prst="rect">
                <a:avLst/>
              </a:prstGeom>
            </p:spPr>
          </p:pic>
          <p:pic>
            <p:nvPicPr>
              <p:cNvPr id="159" name="Picture 158">
                <a:extLst>
                  <a:ext uri="{FF2B5EF4-FFF2-40B4-BE49-F238E27FC236}">
                    <a16:creationId xmlns:a16="http://schemas.microsoft.com/office/drawing/2014/main" id="{08B1C872-D174-4595-B060-0113086D8308}"/>
                  </a:ext>
                </a:extLst>
              </p:cNvPr>
              <p:cNvPicPr>
                <a:picLocks noChangeAspect="1"/>
              </p:cNvPicPr>
              <p:nvPr/>
            </p:nvPicPr>
            <p:blipFill>
              <a:blip r:embed="rId20"/>
              <a:stretch>
                <a:fillRect/>
              </a:stretch>
            </p:blipFill>
            <p:spPr>
              <a:xfrm>
                <a:off x="11474038" y="1652834"/>
                <a:ext cx="717962" cy="701920"/>
              </a:xfrm>
              <a:prstGeom prst="rect">
                <a:avLst/>
              </a:prstGeom>
            </p:spPr>
          </p:pic>
          <p:pic>
            <p:nvPicPr>
              <p:cNvPr id="160" name="Picture 159">
                <a:extLst>
                  <a:ext uri="{FF2B5EF4-FFF2-40B4-BE49-F238E27FC236}">
                    <a16:creationId xmlns:a16="http://schemas.microsoft.com/office/drawing/2014/main" id="{5A608F69-2D8E-4AA9-9F70-C01A63E852D6}"/>
                  </a:ext>
                </a:extLst>
              </p:cNvPr>
              <p:cNvPicPr>
                <a:picLocks noChangeAspect="1"/>
              </p:cNvPicPr>
              <p:nvPr/>
            </p:nvPicPr>
            <p:blipFill>
              <a:blip r:embed="rId21"/>
              <a:stretch>
                <a:fillRect/>
              </a:stretch>
            </p:blipFill>
            <p:spPr>
              <a:xfrm>
                <a:off x="6422621" y="2360638"/>
                <a:ext cx="708338" cy="708338"/>
              </a:xfrm>
              <a:prstGeom prst="rect">
                <a:avLst/>
              </a:prstGeom>
            </p:spPr>
          </p:pic>
          <p:pic>
            <p:nvPicPr>
              <p:cNvPr id="161" name="Picture 160">
                <a:extLst>
                  <a:ext uri="{FF2B5EF4-FFF2-40B4-BE49-F238E27FC236}">
                    <a16:creationId xmlns:a16="http://schemas.microsoft.com/office/drawing/2014/main" id="{5FB816FA-4061-4DED-8BB9-07CFD3C2B975}"/>
                  </a:ext>
                </a:extLst>
              </p:cNvPr>
              <p:cNvPicPr>
                <a:picLocks noChangeAspect="1"/>
              </p:cNvPicPr>
              <p:nvPr/>
            </p:nvPicPr>
            <p:blipFill>
              <a:blip r:embed="rId22"/>
              <a:stretch>
                <a:fillRect/>
              </a:stretch>
            </p:blipFill>
            <p:spPr>
              <a:xfrm>
                <a:off x="7866103" y="2354906"/>
                <a:ext cx="723900" cy="723900"/>
              </a:xfrm>
              <a:prstGeom prst="rect">
                <a:avLst/>
              </a:prstGeom>
            </p:spPr>
          </p:pic>
          <p:pic>
            <p:nvPicPr>
              <p:cNvPr id="162" name="Picture 161">
                <a:extLst>
                  <a:ext uri="{FF2B5EF4-FFF2-40B4-BE49-F238E27FC236}">
                    <a16:creationId xmlns:a16="http://schemas.microsoft.com/office/drawing/2014/main" id="{29A59DB7-EF46-4804-853B-1C3A9478F78E}"/>
                  </a:ext>
                </a:extLst>
              </p:cNvPr>
              <p:cNvPicPr>
                <a:picLocks noChangeAspect="1"/>
              </p:cNvPicPr>
              <p:nvPr/>
            </p:nvPicPr>
            <p:blipFill>
              <a:blip r:embed="rId23"/>
              <a:stretch>
                <a:fillRect/>
              </a:stretch>
            </p:blipFill>
            <p:spPr>
              <a:xfrm>
                <a:off x="9314063" y="2354754"/>
                <a:ext cx="722583" cy="722583"/>
              </a:xfrm>
              <a:prstGeom prst="rect">
                <a:avLst/>
              </a:prstGeom>
            </p:spPr>
          </p:pic>
          <p:pic>
            <p:nvPicPr>
              <p:cNvPr id="163" name="Picture 162">
                <a:extLst>
                  <a:ext uri="{FF2B5EF4-FFF2-40B4-BE49-F238E27FC236}">
                    <a16:creationId xmlns:a16="http://schemas.microsoft.com/office/drawing/2014/main" id="{9BF1E9E9-0F01-4DED-9216-7AE81C42D8E4}"/>
                  </a:ext>
                </a:extLst>
              </p:cNvPr>
              <p:cNvPicPr>
                <a:picLocks noChangeAspect="1"/>
              </p:cNvPicPr>
              <p:nvPr/>
            </p:nvPicPr>
            <p:blipFill>
              <a:blip r:embed="rId24"/>
              <a:stretch>
                <a:fillRect/>
              </a:stretch>
            </p:blipFill>
            <p:spPr>
              <a:xfrm>
                <a:off x="10753916" y="2347087"/>
                <a:ext cx="730250" cy="730250"/>
              </a:xfrm>
              <a:prstGeom prst="rect">
                <a:avLst/>
              </a:prstGeom>
            </p:spPr>
          </p:pic>
          <p:pic>
            <p:nvPicPr>
              <p:cNvPr id="164" name="Picture 163">
                <a:extLst>
                  <a:ext uri="{FF2B5EF4-FFF2-40B4-BE49-F238E27FC236}">
                    <a16:creationId xmlns:a16="http://schemas.microsoft.com/office/drawing/2014/main" id="{2B4D528B-FF14-4E7B-9F9F-8FEDEB36E502}"/>
                  </a:ext>
                </a:extLst>
              </p:cNvPr>
              <p:cNvPicPr>
                <a:picLocks noChangeAspect="1"/>
              </p:cNvPicPr>
              <p:nvPr/>
            </p:nvPicPr>
            <p:blipFill>
              <a:blip r:embed="rId25"/>
              <a:stretch>
                <a:fillRect/>
              </a:stretch>
            </p:blipFill>
            <p:spPr>
              <a:xfrm>
                <a:off x="5698196" y="3060352"/>
                <a:ext cx="723900" cy="723900"/>
              </a:xfrm>
              <a:prstGeom prst="rect">
                <a:avLst/>
              </a:prstGeom>
            </p:spPr>
          </p:pic>
          <p:pic>
            <p:nvPicPr>
              <p:cNvPr id="165" name="Picture 164">
                <a:extLst>
                  <a:ext uri="{FF2B5EF4-FFF2-40B4-BE49-F238E27FC236}">
                    <a16:creationId xmlns:a16="http://schemas.microsoft.com/office/drawing/2014/main" id="{17A348C4-9FC4-4E61-BB75-0EC826E1CAF6}"/>
                  </a:ext>
                </a:extLst>
              </p:cNvPr>
              <p:cNvPicPr>
                <a:picLocks noChangeAspect="1"/>
              </p:cNvPicPr>
              <p:nvPr/>
            </p:nvPicPr>
            <p:blipFill>
              <a:blip r:embed="rId26"/>
              <a:stretch>
                <a:fillRect/>
              </a:stretch>
            </p:blipFill>
            <p:spPr>
              <a:xfrm>
                <a:off x="7126578" y="3068848"/>
                <a:ext cx="738864" cy="721160"/>
              </a:xfrm>
              <a:prstGeom prst="rect">
                <a:avLst/>
              </a:prstGeom>
            </p:spPr>
          </p:pic>
          <p:pic>
            <p:nvPicPr>
              <p:cNvPr id="166" name="Picture 165">
                <a:extLst>
                  <a:ext uri="{FF2B5EF4-FFF2-40B4-BE49-F238E27FC236}">
                    <a16:creationId xmlns:a16="http://schemas.microsoft.com/office/drawing/2014/main" id="{C0D5B894-B059-45D0-86B9-57C92D6C5424}"/>
                  </a:ext>
                </a:extLst>
              </p:cNvPr>
              <p:cNvPicPr>
                <a:picLocks noChangeAspect="1"/>
              </p:cNvPicPr>
              <p:nvPr/>
            </p:nvPicPr>
            <p:blipFill>
              <a:blip r:embed="rId27"/>
              <a:stretch>
                <a:fillRect/>
              </a:stretch>
            </p:blipFill>
            <p:spPr>
              <a:xfrm>
                <a:off x="8591869" y="3076908"/>
                <a:ext cx="722194" cy="722194"/>
              </a:xfrm>
              <a:prstGeom prst="rect">
                <a:avLst/>
              </a:prstGeom>
            </p:spPr>
          </p:pic>
          <p:pic>
            <p:nvPicPr>
              <p:cNvPr id="167" name="Picture 166">
                <a:extLst>
                  <a:ext uri="{FF2B5EF4-FFF2-40B4-BE49-F238E27FC236}">
                    <a16:creationId xmlns:a16="http://schemas.microsoft.com/office/drawing/2014/main" id="{036A6181-0A2E-4173-897E-6E4A3E787787}"/>
                  </a:ext>
                </a:extLst>
              </p:cNvPr>
              <p:cNvPicPr>
                <a:picLocks noChangeAspect="1"/>
              </p:cNvPicPr>
              <p:nvPr/>
            </p:nvPicPr>
            <p:blipFill>
              <a:blip r:embed="rId28"/>
              <a:stretch>
                <a:fillRect/>
              </a:stretch>
            </p:blipFill>
            <p:spPr>
              <a:xfrm>
                <a:off x="10020514" y="3059111"/>
                <a:ext cx="736600" cy="736600"/>
              </a:xfrm>
              <a:prstGeom prst="rect">
                <a:avLst/>
              </a:prstGeom>
            </p:spPr>
          </p:pic>
          <p:pic>
            <p:nvPicPr>
              <p:cNvPr id="168" name="Picture 167">
                <a:extLst>
                  <a:ext uri="{FF2B5EF4-FFF2-40B4-BE49-F238E27FC236}">
                    <a16:creationId xmlns:a16="http://schemas.microsoft.com/office/drawing/2014/main" id="{74845FD2-4257-4482-AA47-C8F314B1A8F6}"/>
                  </a:ext>
                </a:extLst>
              </p:cNvPr>
              <p:cNvPicPr>
                <a:picLocks noChangeAspect="1"/>
              </p:cNvPicPr>
              <p:nvPr/>
            </p:nvPicPr>
            <p:blipFill>
              <a:blip r:embed="rId29"/>
              <a:stretch>
                <a:fillRect/>
              </a:stretch>
            </p:blipFill>
            <p:spPr>
              <a:xfrm>
                <a:off x="11481014" y="3071112"/>
                <a:ext cx="710986" cy="710986"/>
              </a:xfrm>
              <a:prstGeom prst="rect">
                <a:avLst/>
              </a:prstGeom>
            </p:spPr>
          </p:pic>
          <p:pic>
            <p:nvPicPr>
              <p:cNvPr id="169" name="Picture 168">
                <a:extLst>
                  <a:ext uri="{FF2B5EF4-FFF2-40B4-BE49-F238E27FC236}">
                    <a16:creationId xmlns:a16="http://schemas.microsoft.com/office/drawing/2014/main" id="{282A4C07-298E-4668-AA8A-171650692136}"/>
                  </a:ext>
                </a:extLst>
              </p:cNvPr>
              <p:cNvPicPr>
                <a:picLocks noChangeAspect="1"/>
              </p:cNvPicPr>
              <p:nvPr/>
            </p:nvPicPr>
            <p:blipFill>
              <a:blip r:embed="rId30"/>
              <a:stretch>
                <a:fillRect/>
              </a:stretch>
            </p:blipFill>
            <p:spPr>
              <a:xfrm>
                <a:off x="6420464" y="3785617"/>
                <a:ext cx="706113" cy="706113"/>
              </a:xfrm>
              <a:prstGeom prst="rect">
                <a:avLst/>
              </a:prstGeom>
            </p:spPr>
          </p:pic>
          <p:pic>
            <p:nvPicPr>
              <p:cNvPr id="170" name="Picture 169">
                <a:extLst>
                  <a:ext uri="{FF2B5EF4-FFF2-40B4-BE49-F238E27FC236}">
                    <a16:creationId xmlns:a16="http://schemas.microsoft.com/office/drawing/2014/main" id="{292E8DAD-C38E-457F-9DD0-892423CA38A8}"/>
                  </a:ext>
                </a:extLst>
              </p:cNvPr>
              <p:cNvPicPr>
                <a:picLocks noChangeAspect="1"/>
              </p:cNvPicPr>
              <p:nvPr/>
            </p:nvPicPr>
            <p:blipFill>
              <a:blip r:embed="rId31"/>
              <a:stretch>
                <a:fillRect/>
              </a:stretch>
            </p:blipFill>
            <p:spPr>
              <a:xfrm>
                <a:off x="7865442" y="3789239"/>
                <a:ext cx="724561" cy="702491"/>
              </a:xfrm>
              <a:prstGeom prst="rect">
                <a:avLst/>
              </a:prstGeom>
            </p:spPr>
          </p:pic>
          <p:pic>
            <p:nvPicPr>
              <p:cNvPr id="171" name="Picture 170">
                <a:extLst>
                  <a:ext uri="{FF2B5EF4-FFF2-40B4-BE49-F238E27FC236}">
                    <a16:creationId xmlns:a16="http://schemas.microsoft.com/office/drawing/2014/main" id="{63FC14A5-88DE-417A-8868-4FB6FC7579BD}"/>
                  </a:ext>
                </a:extLst>
              </p:cNvPr>
              <p:cNvPicPr>
                <a:picLocks noChangeAspect="1"/>
              </p:cNvPicPr>
              <p:nvPr/>
            </p:nvPicPr>
            <p:blipFill>
              <a:blip r:embed="rId32"/>
              <a:stretch>
                <a:fillRect/>
              </a:stretch>
            </p:blipFill>
            <p:spPr>
              <a:xfrm>
                <a:off x="9307537" y="3785358"/>
                <a:ext cx="712977" cy="712977"/>
              </a:xfrm>
              <a:prstGeom prst="rect">
                <a:avLst/>
              </a:prstGeom>
            </p:spPr>
          </p:pic>
          <p:pic>
            <p:nvPicPr>
              <p:cNvPr id="172" name="Picture 171">
                <a:extLst>
                  <a:ext uri="{FF2B5EF4-FFF2-40B4-BE49-F238E27FC236}">
                    <a16:creationId xmlns:a16="http://schemas.microsoft.com/office/drawing/2014/main" id="{4D3F390A-3EF0-4D5C-84B9-846B5CBD1429}"/>
                  </a:ext>
                </a:extLst>
              </p:cNvPr>
              <p:cNvPicPr>
                <a:picLocks noChangeAspect="1"/>
              </p:cNvPicPr>
              <p:nvPr/>
            </p:nvPicPr>
            <p:blipFill>
              <a:blip r:embed="rId33"/>
              <a:stretch>
                <a:fillRect/>
              </a:stretch>
            </p:blipFill>
            <p:spPr>
              <a:xfrm>
                <a:off x="10750118" y="3781694"/>
                <a:ext cx="736600" cy="716641"/>
              </a:xfrm>
              <a:prstGeom prst="rect">
                <a:avLst/>
              </a:prstGeom>
            </p:spPr>
          </p:pic>
          <p:pic>
            <p:nvPicPr>
              <p:cNvPr id="173" name="Picture 172">
                <a:extLst>
                  <a:ext uri="{FF2B5EF4-FFF2-40B4-BE49-F238E27FC236}">
                    <a16:creationId xmlns:a16="http://schemas.microsoft.com/office/drawing/2014/main" id="{13242093-A826-4612-8EEA-D090776A5101}"/>
                  </a:ext>
                </a:extLst>
              </p:cNvPr>
              <p:cNvPicPr>
                <a:picLocks noChangeAspect="1"/>
              </p:cNvPicPr>
              <p:nvPr/>
            </p:nvPicPr>
            <p:blipFill>
              <a:blip r:embed="rId34"/>
              <a:stretch>
                <a:fillRect/>
              </a:stretch>
            </p:blipFill>
            <p:spPr>
              <a:xfrm>
                <a:off x="5697436" y="4486063"/>
                <a:ext cx="721161" cy="721161"/>
              </a:xfrm>
              <a:prstGeom prst="rect">
                <a:avLst/>
              </a:prstGeom>
            </p:spPr>
          </p:pic>
          <p:pic>
            <p:nvPicPr>
              <p:cNvPr id="174" name="Picture 173">
                <a:extLst>
                  <a:ext uri="{FF2B5EF4-FFF2-40B4-BE49-F238E27FC236}">
                    <a16:creationId xmlns:a16="http://schemas.microsoft.com/office/drawing/2014/main" id="{0690155F-8F6C-4CAF-8668-85AADC200ECC}"/>
                  </a:ext>
                </a:extLst>
              </p:cNvPr>
              <p:cNvPicPr>
                <a:picLocks noChangeAspect="1"/>
              </p:cNvPicPr>
              <p:nvPr/>
            </p:nvPicPr>
            <p:blipFill>
              <a:blip r:embed="rId35"/>
              <a:stretch>
                <a:fillRect/>
              </a:stretch>
            </p:blipFill>
            <p:spPr>
              <a:xfrm>
                <a:off x="7126327" y="4484851"/>
                <a:ext cx="740331" cy="721160"/>
              </a:xfrm>
              <a:prstGeom prst="rect">
                <a:avLst/>
              </a:prstGeom>
            </p:spPr>
          </p:pic>
          <p:pic>
            <p:nvPicPr>
              <p:cNvPr id="175" name="Picture 174">
                <a:extLst>
                  <a:ext uri="{FF2B5EF4-FFF2-40B4-BE49-F238E27FC236}">
                    <a16:creationId xmlns:a16="http://schemas.microsoft.com/office/drawing/2014/main" id="{98EBA821-55C3-486B-9D87-360C4E6F0C9A}"/>
                  </a:ext>
                </a:extLst>
              </p:cNvPr>
              <p:cNvPicPr>
                <a:picLocks noChangeAspect="1"/>
              </p:cNvPicPr>
              <p:nvPr/>
            </p:nvPicPr>
            <p:blipFill>
              <a:blip r:embed="rId36"/>
              <a:stretch>
                <a:fillRect/>
              </a:stretch>
            </p:blipFill>
            <p:spPr>
              <a:xfrm>
                <a:off x="8587203" y="4491367"/>
                <a:ext cx="719766" cy="719766"/>
              </a:xfrm>
              <a:prstGeom prst="rect">
                <a:avLst/>
              </a:prstGeom>
            </p:spPr>
          </p:pic>
          <p:pic>
            <p:nvPicPr>
              <p:cNvPr id="176" name="Picture 175">
                <a:extLst>
                  <a:ext uri="{FF2B5EF4-FFF2-40B4-BE49-F238E27FC236}">
                    <a16:creationId xmlns:a16="http://schemas.microsoft.com/office/drawing/2014/main" id="{E39A104F-8816-4183-AC17-5130D20F7C24}"/>
                  </a:ext>
                </a:extLst>
              </p:cNvPr>
              <p:cNvPicPr>
                <a:picLocks noChangeAspect="1"/>
              </p:cNvPicPr>
              <p:nvPr/>
            </p:nvPicPr>
            <p:blipFill>
              <a:blip r:embed="rId37"/>
              <a:stretch>
                <a:fillRect/>
              </a:stretch>
            </p:blipFill>
            <p:spPr>
              <a:xfrm>
                <a:off x="10016712" y="4488607"/>
                <a:ext cx="735870" cy="735870"/>
              </a:xfrm>
              <a:prstGeom prst="rect">
                <a:avLst/>
              </a:prstGeom>
            </p:spPr>
          </p:pic>
          <p:pic>
            <p:nvPicPr>
              <p:cNvPr id="177" name="Picture 176">
                <a:extLst>
                  <a:ext uri="{FF2B5EF4-FFF2-40B4-BE49-F238E27FC236}">
                    <a16:creationId xmlns:a16="http://schemas.microsoft.com/office/drawing/2014/main" id="{80119465-6543-439A-B4BA-343D49E8D468}"/>
                  </a:ext>
                </a:extLst>
              </p:cNvPr>
              <p:cNvPicPr>
                <a:picLocks noChangeAspect="1"/>
              </p:cNvPicPr>
              <p:nvPr/>
            </p:nvPicPr>
            <p:blipFill>
              <a:blip r:embed="rId38"/>
              <a:stretch>
                <a:fillRect/>
              </a:stretch>
            </p:blipFill>
            <p:spPr>
              <a:xfrm>
                <a:off x="11477409" y="4491201"/>
                <a:ext cx="723900" cy="723900"/>
              </a:xfrm>
              <a:prstGeom prst="rect">
                <a:avLst/>
              </a:prstGeom>
            </p:spPr>
          </p:pic>
          <p:pic>
            <p:nvPicPr>
              <p:cNvPr id="178" name="Picture 177">
                <a:extLst>
                  <a:ext uri="{FF2B5EF4-FFF2-40B4-BE49-F238E27FC236}">
                    <a16:creationId xmlns:a16="http://schemas.microsoft.com/office/drawing/2014/main" id="{B1E00D21-E479-476B-9B8D-B21BF570BB09}"/>
                  </a:ext>
                </a:extLst>
              </p:cNvPr>
              <p:cNvPicPr>
                <a:picLocks noChangeAspect="1"/>
              </p:cNvPicPr>
              <p:nvPr/>
            </p:nvPicPr>
            <p:blipFill>
              <a:blip r:embed="rId39"/>
              <a:stretch>
                <a:fillRect/>
              </a:stretch>
            </p:blipFill>
            <p:spPr>
              <a:xfrm>
                <a:off x="6414592" y="5206068"/>
                <a:ext cx="713590" cy="713590"/>
              </a:xfrm>
              <a:prstGeom prst="rect">
                <a:avLst/>
              </a:prstGeom>
            </p:spPr>
          </p:pic>
          <p:pic>
            <p:nvPicPr>
              <p:cNvPr id="179" name="Picture 178">
                <a:extLst>
                  <a:ext uri="{FF2B5EF4-FFF2-40B4-BE49-F238E27FC236}">
                    <a16:creationId xmlns:a16="http://schemas.microsoft.com/office/drawing/2014/main" id="{6AA14B22-13C2-4F5D-9793-0C4443C0843D}"/>
                  </a:ext>
                </a:extLst>
              </p:cNvPr>
              <p:cNvPicPr>
                <a:picLocks noChangeAspect="1"/>
              </p:cNvPicPr>
              <p:nvPr/>
            </p:nvPicPr>
            <p:blipFill>
              <a:blip r:embed="rId40"/>
              <a:stretch>
                <a:fillRect/>
              </a:stretch>
            </p:blipFill>
            <p:spPr>
              <a:xfrm>
                <a:off x="7863113" y="5200365"/>
                <a:ext cx="727508" cy="705795"/>
              </a:xfrm>
              <a:prstGeom prst="rect">
                <a:avLst/>
              </a:prstGeom>
            </p:spPr>
          </p:pic>
          <p:pic>
            <p:nvPicPr>
              <p:cNvPr id="180" name="Picture 179">
                <a:extLst>
                  <a:ext uri="{FF2B5EF4-FFF2-40B4-BE49-F238E27FC236}">
                    <a16:creationId xmlns:a16="http://schemas.microsoft.com/office/drawing/2014/main" id="{806C1870-A625-4E8A-887D-EC9326696FF3}"/>
                  </a:ext>
                </a:extLst>
              </p:cNvPr>
              <p:cNvPicPr>
                <a:picLocks noChangeAspect="1"/>
              </p:cNvPicPr>
              <p:nvPr/>
            </p:nvPicPr>
            <p:blipFill>
              <a:blip r:embed="rId41"/>
              <a:stretch>
                <a:fillRect/>
              </a:stretch>
            </p:blipFill>
            <p:spPr>
              <a:xfrm>
                <a:off x="9304352" y="5213129"/>
                <a:ext cx="711792" cy="696240"/>
              </a:xfrm>
              <a:prstGeom prst="rect">
                <a:avLst/>
              </a:prstGeom>
            </p:spPr>
          </p:pic>
          <p:pic>
            <p:nvPicPr>
              <p:cNvPr id="181" name="Picture 180">
                <a:extLst>
                  <a:ext uri="{FF2B5EF4-FFF2-40B4-BE49-F238E27FC236}">
                    <a16:creationId xmlns:a16="http://schemas.microsoft.com/office/drawing/2014/main" id="{A9C19B09-6E9A-4FA0-A640-7F0169180102}"/>
                  </a:ext>
                </a:extLst>
              </p:cNvPr>
              <p:cNvPicPr>
                <a:picLocks noChangeAspect="1"/>
              </p:cNvPicPr>
              <p:nvPr/>
            </p:nvPicPr>
            <p:blipFill>
              <a:blip r:embed="rId42"/>
              <a:stretch>
                <a:fillRect/>
              </a:stretch>
            </p:blipFill>
            <p:spPr>
              <a:xfrm>
                <a:off x="10750314" y="5216658"/>
                <a:ext cx="730699" cy="696240"/>
              </a:xfrm>
              <a:prstGeom prst="rect">
                <a:avLst/>
              </a:prstGeom>
            </p:spPr>
          </p:pic>
          <p:pic>
            <p:nvPicPr>
              <p:cNvPr id="182" name="Picture 181">
                <a:extLst>
                  <a:ext uri="{FF2B5EF4-FFF2-40B4-BE49-F238E27FC236}">
                    <a16:creationId xmlns:a16="http://schemas.microsoft.com/office/drawing/2014/main" id="{150ECF6A-6867-462A-A70F-35C7661267E7}"/>
                  </a:ext>
                </a:extLst>
              </p:cNvPr>
              <p:cNvPicPr>
                <a:picLocks noChangeAspect="1"/>
              </p:cNvPicPr>
              <p:nvPr/>
            </p:nvPicPr>
            <p:blipFill>
              <a:blip r:embed="rId43"/>
              <a:stretch>
                <a:fillRect/>
              </a:stretch>
            </p:blipFill>
            <p:spPr>
              <a:xfrm>
                <a:off x="7121453" y="5907605"/>
                <a:ext cx="740331" cy="723900"/>
              </a:xfrm>
              <a:prstGeom prst="rect">
                <a:avLst/>
              </a:prstGeom>
            </p:spPr>
          </p:pic>
          <p:pic>
            <p:nvPicPr>
              <p:cNvPr id="183" name="Picture 182">
                <a:extLst>
                  <a:ext uri="{FF2B5EF4-FFF2-40B4-BE49-F238E27FC236}">
                    <a16:creationId xmlns:a16="http://schemas.microsoft.com/office/drawing/2014/main" id="{67085AC2-756A-4A9F-9421-9BDDE26B8307}"/>
                  </a:ext>
                </a:extLst>
              </p:cNvPr>
              <p:cNvPicPr>
                <a:picLocks noChangeAspect="1"/>
              </p:cNvPicPr>
              <p:nvPr/>
            </p:nvPicPr>
            <p:blipFill>
              <a:blip r:embed="rId44"/>
              <a:stretch>
                <a:fillRect/>
              </a:stretch>
            </p:blipFill>
            <p:spPr>
              <a:xfrm>
                <a:off x="8585306" y="5935266"/>
                <a:ext cx="718477" cy="696240"/>
              </a:xfrm>
              <a:prstGeom prst="rect">
                <a:avLst/>
              </a:prstGeom>
            </p:spPr>
          </p:pic>
          <p:pic>
            <p:nvPicPr>
              <p:cNvPr id="184" name="Picture 183">
                <a:extLst>
                  <a:ext uri="{FF2B5EF4-FFF2-40B4-BE49-F238E27FC236}">
                    <a16:creationId xmlns:a16="http://schemas.microsoft.com/office/drawing/2014/main" id="{9DC1770C-ED2D-49EB-8532-3331C827DCA2}"/>
                  </a:ext>
                </a:extLst>
              </p:cNvPr>
              <p:cNvPicPr>
                <a:picLocks noChangeAspect="1"/>
              </p:cNvPicPr>
              <p:nvPr/>
            </p:nvPicPr>
            <p:blipFill>
              <a:blip r:embed="rId45"/>
              <a:stretch>
                <a:fillRect/>
              </a:stretch>
            </p:blipFill>
            <p:spPr>
              <a:xfrm>
                <a:off x="10022697" y="5925710"/>
                <a:ext cx="723900" cy="705795"/>
              </a:xfrm>
              <a:prstGeom prst="rect">
                <a:avLst/>
              </a:prstGeom>
            </p:spPr>
          </p:pic>
          <p:pic>
            <p:nvPicPr>
              <p:cNvPr id="185" name="Picture 184">
                <a:extLst>
                  <a:ext uri="{FF2B5EF4-FFF2-40B4-BE49-F238E27FC236}">
                    <a16:creationId xmlns:a16="http://schemas.microsoft.com/office/drawing/2014/main" id="{AA607C2F-1C6C-4257-84CB-16C9BEDAEC91}"/>
                  </a:ext>
                </a:extLst>
              </p:cNvPr>
              <p:cNvPicPr>
                <a:picLocks noChangeAspect="1"/>
              </p:cNvPicPr>
              <p:nvPr/>
            </p:nvPicPr>
            <p:blipFill>
              <a:blip r:embed="rId46"/>
              <a:stretch>
                <a:fillRect/>
              </a:stretch>
            </p:blipFill>
            <p:spPr>
              <a:xfrm>
                <a:off x="11481013" y="5920518"/>
                <a:ext cx="710987" cy="710987"/>
              </a:xfrm>
              <a:prstGeom prst="rect">
                <a:avLst/>
              </a:prstGeom>
            </p:spPr>
          </p:pic>
          <p:pic>
            <p:nvPicPr>
              <p:cNvPr id="186" name="Picture 185">
                <a:extLst>
                  <a:ext uri="{FF2B5EF4-FFF2-40B4-BE49-F238E27FC236}">
                    <a16:creationId xmlns:a16="http://schemas.microsoft.com/office/drawing/2014/main" id="{57DFA5AC-1DAD-47C7-AA0A-A9F60B759263}"/>
                  </a:ext>
                </a:extLst>
              </p:cNvPr>
              <p:cNvPicPr>
                <a:picLocks noChangeAspect="1"/>
              </p:cNvPicPr>
              <p:nvPr/>
            </p:nvPicPr>
            <p:blipFill>
              <a:blip r:embed="rId47"/>
              <a:stretch>
                <a:fillRect/>
              </a:stretch>
            </p:blipFill>
            <p:spPr>
              <a:xfrm>
                <a:off x="5682722" y="5924777"/>
                <a:ext cx="729649" cy="703293"/>
              </a:xfrm>
              <a:prstGeom prst="rect">
                <a:avLst/>
              </a:prstGeom>
            </p:spPr>
          </p:pic>
        </p:grpSp>
      </p:grpSp>
      <p:grpSp>
        <p:nvGrpSpPr>
          <p:cNvPr id="3" name="Group 2">
            <a:extLst>
              <a:ext uri="{FF2B5EF4-FFF2-40B4-BE49-F238E27FC236}">
                <a16:creationId xmlns:a16="http://schemas.microsoft.com/office/drawing/2014/main" id="{C3572DAD-1917-495D-8C47-F04562460FA7}"/>
              </a:ext>
            </a:extLst>
          </p:cNvPr>
          <p:cNvGrpSpPr/>
          <p:nvPr/>
        </p:nvGrpSpPr>
        <p:grpSpPr>
          <a:xfrm>
            <a:off x="584200" y="897551"/>
            <a:ext cx="4872996" cy="4129449"/>
            <a:chOff x="584200" y="715321"/>
            <a:chExt cx="4872996" cy="4129449"/>
          </a:xfrm>
        </p:grpSpPr>
        <p:sp>
          <p:nvSpPr>
            <p:cNvPr id="108" name="Rectangle 107">
              <a:extLst>
                <a:ext uri="{FF2B5EF4-FFF2-40B4-BE49-F238E27FC236}">
                  <a16:creationId xmlns:a16="http://schemas.microsoft.com/office/drawing/2014/main" id="{9F1FFB8A-A1C7-4549-93BC-E27E018D0FA8}"/>
                </a:ext>
              </a:extLst>
            </p:cNvPr>
            <p:cNvSpPr/>
            <p:nvPr/>
          </p:nvSpPr>
          <p:spPr>
            <a:xfrm>
              <a:off x="584200" y="715321"/>
              <a:ext cx="4872996" cy="1302392"/>
            </a:xfrm>
            <a:prstGeom prst="rect">
              <a:avLst/>
            </a:prstGeom>
          </p:spPr>
          <p:txBody>
            <a:bodyPr wrap="square" lIns="0" tIns="0" rIns="0" bIns="0">
              <a:noAutofit/>
            </a:bodyPr>
            <a:lstStyle/>
            <a:p>
              <a:pPr>
                <a:spcAft>
                  <a:spcPts val="600"/>
                </a:spcAft>
              </a:pPr>
              <a:r>
                <a:rPr lang="en-US" sz="4400">
                  <a:solidFill>
                    <a:schemeClr val="accent1"/>
                  </a:solidFill>
                  <a:latin typeface="+mj-lt"/>
                </a:rPr>
                <a:t>300+ connected</a:t>
              </a:r>
              <a:br>
                <a:rPr lang="en-US" sz="4400">
                  <a:solidFill>
                    <a:schemeClr val="accent1"/>
                  </a:solidFill>
                  <a:latin typeface="+mj-lt"/>
                </a:rPr>
              </a:br>
              <a:r>
                <a:rPr lang="en-US" sz="4400">
                  <a:solidFill>
                    <a:schemeClr val="accent1"/>
                  </a:solidFill>
                  <a:latin typeface="+mj-lt"/>
                </a:rPr>
                <a:t>experiences</a:t>
              </a:r>
            </a:p>
          </p:txBody>
        </p:sp>
        <p:sp>
          <p:nvSpPr>
            <p:cNvPr id="187" name="Rectangle 186">
              <a:extLst>
                <a:ext uri="{FF2B5EF4-FFF2-40B4-BE49-F238E27FC236}">
                  <a16:creationId xmlns:a16="http://schemas.microsoft.com/office/drawing/2014/main" id="{8054BE2B-6750-473E-AEB9-34D3357F771D}"/>
                </a:ext>
              </a:extLst>
            </p:cNvPr>
            <p:cNvSpPr/>
            <p:nvPr/>
          </p:nvSpPr>
          <p:spPr>
            <a:xfrm>
              <a:off x="584200" y="2181263"/>
              <a:ext cx="4872996" cy="2663507"/>
            </a:xfrm>
            <a:prstGeom prst="rect">
              <a:avLst/>
            </a:prstGeom>
          </p:spPr>
          <p:txBody>
            <a:bodyPr wrap="square" lIns="0" tIns="0" rIns="0" bIns="0">
              <a:noAutofit/>
            </a:bodyPr>
            <a:lstStyle/>
            <a:p>
              <a:pPr>
                <a:spcAft>
                  <a:spcPts val="600"/>
                </a:spcAft>
              </a:pPr>
              <a:r>
                <a:rPr lang="en-US" sz="2800"/>
                <a:t>Connect to more than</a:t>
              </a:r>
              <a:br>
                <a:rPr lang="en-US" sz="2800"/>
              </a:br>
              <a:r>
                <a:rPr lang="en-US" sz="2800"/>
                <a:t>300+ 1</a:t>
              </a:r>
              <a:r>
                <a:rPr lang="en-US" sz="2800" baseline="30000"/>
                <a:t>st </a:t>
              </a:r>
              <a:r>
                <a:rPr lang="en-US" sz="2800"/>
                <a:t>and 3</a:t>
              </a:r>
              <a:r>
                <a:rPr lang="en-US" sz="2800" baseline="30000"/>
                <a:t>rd</a:t>
              </a:r>
              <a:r>
                <a:rPr lang="en-US" sz="2800"/>
                <a:t> party</a:t>
              </a:r>
              <a:br>
                <a:rPr lang="en-US" sz="2800"/>
              </a:br>
              <a:r>
                <a:rPr lang="en-US" sz="2800"/>
                <a:t>services with built-in connectors for everything from Adobe to Zendesk to</a:t>
              </a:r>
              <a:br>
                <a:rPr lang="en-US" sz="2800"/>
              </a:br>
              <a:r>
                <a:rPr lang="en-US" sz="2800"/>
                <a:t>on-premises solutions</a:t>
              </a:r>
            </a:p>
          </p:txBody>
        </p:sp>
      </p:grpSp>
      <p:sp>
        <p:nvSpPr>
          <p:cNvPr id="2" name="Title 1">
            <a:extLst>
              <a:ext uri="{FF2B5EF4-FFF2-40B4-BE49-F238E27FC236}">
                <a16:creationId xmlns:a16="http://schemas.microsoft.com/office/drawing/2014/main" id="{EDAE8FCC-207D-450C-993A-17581DF6723D}"/>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B11D4080-2E61-45E5-AD23-28BA622BF32F}"/>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40390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87ACFB6-5A39-45C0-8C7A-E2CBB0C0A954}"/>
              </a:ext>
            </a:extLst>
          </p:cNvPr>
          <p:cNvPicPr>
            <a:picLocks noChangeAspect="1"/>
          </p:cNvPicPr>
          <p:nvPr/>
        </p:nvPicPr>
        <p:blipFill>
          <a:blip r:embed="rId3"/>
          <a:stretch>
            <a:fillRect/>
          </a:stretch>
        </p:blipFill>
        <p:spPr>
          <a:xfrm>
            <a:off x="4203225" y="1429761"/>
            <a:ext cx="3781953" cy="750291"/>
          </a:xfrm>
          <a:prstGeom prst="rect">
            <a:avLst/>
          </a:prstGeom>
        </p:spPr>
      </p:pic>
      <p:sp>
        <p:nvSpPr>
          <p:cNvPr id="2" name="Title 1"/>
          <p:cNvSpPr>
            <a:spLocks noGrp="1"/>
          </p:cNvSpPr>
          <p:nvPr>
            <p:ph type="title"/>
          </p:nvPr>
        </p:nvSpPr>
        <p:spPr/>
        <p:txBody>
          <a:bodyPr/>
          <a:lstStyle/>
          <a:p>
            <a:r>
              <a:rPr lang="en-US" dirty="0"/>
              <a:t>Eldert Grootenboer</a:t>
            </a:r>
          </a:p>
        </p:txBody>
      </p:sp>
      <p:pic>
        <p:nvPicPr>
          <p:cNvPr id="19" name="Picture 18"/>
          <p:cNvPicPr>
            <a:picLocks noChangeAspect="1"/>
          </p:cNvPicPr>
          <p:nvPr/>
        </p:nvPicPr>
        <p:blipFill>
          <a:blip r:embed="rId4"/>
          <a:stretch>
            <a:fillRect/>
          </a:stretch>
        </p:blipFill>
        <p:spPr>
          <a:xfrm>
            <a:off x="4527288" y="2953448"/>
            <a:ext cx="3137425" cy="1258515"/>
          </a:xfrm>
          <a:prstGeom prst="rect">
            <a:avLst/>
          </a:prstGeom>
        </p:spPr>
      </p:pic>
      <p:grpSp>
        <p:nvGrpSpPr>
          <p:cNvPr id="5" name="Group 4">
            <a:extLst>
              <a:ext uri="{FF2B5EF4-FFF2-40B4-BE49-F238E27FC236}">
                <a16:creationId xmlns:a16="http://schemas.microsoft.com/office/drawing/2014/main" id="{A9474008-B810-4197-BAC3-92111052E75A}"/>
              </a:ext>
            </a:extLst>
          </p:cNvPr>
          <p:cNvGrpSpPr/>
          <p:nvPr/>
        </p:nvGrpSpPr>
        <p:grpSpPr>
          <a:xfrm>
            <a:off x="3498203" y="4998441"/>
            <a:ext cx="5195595" cy="830997"/>
            <a:chOff x="3729235" y="4998441"/>
            <a:chExt cx="5195595" cy="830997"/>
          </a:xfrm>
        </p:grpSpPr>
        <p:sp>
          <p:nvSpPr>
            <p:cNvPr id="9" name="Rectangle 8"/>
            <p:cNvSpPr/>
            <p:nvPr/>
          </p:nvSpPr>
          <p:spPr>
            <a:xfrm>
              <a:off x="4434258" y="4998441"/>
              <a:ext cx="4490572" cy="830997"/>
            </a:xfrm>
            <a:prstGeom prst="rect">
              <a:avLst/>
            </a:prstGeom>
          </p:spPr>
          <p:txBody>
            <a:bodyPr wrap="square">
              <a:spAutoFit/>
            </a:bodyPr>
            <a:lstStyle/>
            <a:p>
              <a:pPr marL="0" marR="0" lvl="1" indent="-148389" algn="l" defTabSz="914452" rtl="0" eaLnBrk="1" fontAlgn="auto" latinLnBrk="0" hangingPunct="1">
                <a:lnSpc>
                  <a:spcPct val="100000"/>
                </a:lnSpc>
                <a:spcBef>
                  <a:spcPts val="0"/>
                </a:spcBef>
                <a:spcAft>
                  <a:spcPts val="0"/>
                </a:spcAft>
                <a:buClrTx/>
                <a:buSzTx/>
                <a:buFontTx/>
                <a:buNone/>
                <a:tabLst/>
                <a:defRPr/>
              </a:pPr>
              <a:r>
                <a:rPr kumimoji="0" lang="nl-NL" sz="4800" b="0" i="0" u="none" strike="noStrike" kern="1200" cap="none" spc="0" normalizeH="0" baseline="0" noProof="0" dirty="0">
                  <a:ln>
                    <a:noFill/>
                  </a:ln>
                  <a:solidFill>
                    <a:prstClr val="white"/>
                  </a:solidFill>
                  <a:effectLst/>
                  <a:uLnTx/>
                  <a:uFillTx/>
                  <a:latin typeface="Segoe UI"/>
                  <a:ea typeface="+mn-ea"/>
                  <a:cs typeface="+mn-cs"/>
                </a:rPr>
                <a:t>@egrootenboer</a:t>
              </a:r>
            </a:p>
          </p:txBody>
        </p:sp>
        <p:pic>
          <p:nvPicPr>
            <p:cNvPr id="4" name="Picture 3">
              <a:extLst>
                <a:ext uri="{FF2B5EF4-FFF2-40B4-BE49-F238E27FC236}">
                  <a16:creationId xmlns:a16="http://schemas.microsoft.com/office/drawing/2014/main" id="{D1A41243-5E0C-4321-AE02-F27CC5E4FE5C}"/>
                </a:ext>
              </a:extLst>
            </p:cNvPr>
            <p:cNvPicPr>
              <a:picLocks noChangeAspect="1"/>
            </p:cNvPicPr>
            <p:nvPr/>
          </p:nvPicPr>
          <p:blipFill>
            <a:blip r:embed="rId5"/>
            <a:stretch>
              <a:fillRect/>
            </a:stretch>
          </p:blipFill>
          <p:spPr>
            <a:xfrm>
              <a:off x="3729235" y="5098251"/>
              <a:ext cx="705022" cy="705022"/>
            </a:xfrm>
            <a:prstGeom prst="rect">
              <a:avLst/>
            </a:prstGeom>
          </p:spPr>
        </p:pic>
      </p:grpSp>
    </p:spTree>
    <p:extLst>
      <p:ext uri="{BB962C8B-B14F-4D97-AF65-F5344CB8AC3E}">
        <p14:creationId xmlns:p14="http://schemas.microsoft.com/office/powerpoint/2010/main" val="4263392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9" presetClass="emph" presetSubtype="0" nodeType="withEffect">
                                  <p:stCondLst>
                                    <p:cond delay="0"/>
                                  </p:stCondLst>
                                  <p:childTnLst>
                                    <p:set>
                                      <p:cBhvr>
                                        <p:cTn id="9" dur="indefinite"/>
                                        <p:tgtEl>
                                          <p:spTgt spid="7"/>
                                        </p:tgtEl>
                                        <p:attrNameLst>
                                          <p:attrName>style.opacity</p:attrName>
                                        </p:attrNameLst>
                                      </p:cBhvr>
                                      <p:to>
                                        <p:strVal val="0.25"/>
                                      </p:to>
                                    </p:set>
                                    <p:animEffect filter="image" prLst="opacity: 0.25">
                                      <p:cBhvr rctx="IE">
                                        <p:cTn id="10" dur="indefinite"/>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9" presetClass="emph" presetSubtype="0" nodeType="withEffect">
                                  <p:stCondLst>
                                    <p:cond delay="0"/>
                                  </p:stCondLst>
                                  <p:childTnLst>
                                    <p:set>
                                      <p:cBhvr>
                                        <p:cTn id="17" dur="indefinite"/>
                                        <p:tgtEl>
                                          <p:spTgt spid="19"/>
                                        </p:tgtEl>
                                        <p:attrNameLst>
                                          <p:attrName>style.opacity</p:attrName>
                                        </p:attrNameLst>
                                      </p:cBhvr>
                                      <p:to>
                                        <p:strVal val="0.25"/>
                                      </p:to>
                                    </p:set>
                                    <p:animEffect filter="image" prLst="opacity: 0.25">
                                      <p:cBhvr rctx="IE">
                                        <p:cTn id="18" dur="indefinite"/>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58CF5-AC2E-A24B-89E6-DAA1C3EBD78A}"/>
              </a:ext>
            </a:extLst>
          </p:cNvPr>
          <p:cNvSpPr>
            <a:spLocks noGrp="1"/>
          </p:cNvSpPr>
          <p:nvPr>
            <p:ph type="title"/>
          </p:nvPr>
        </p:nvSpPr>
        <p:spPr/>
        <p:txBody>
          <a:bodyPr>
            <a:normAutofit/>
          </a:bodyPr>
          <a:lstStyle/>
          <a:p>
            <a:r>
              <a:rPr lang="en-US"/>
              <a:t>Power Automate</a:t>
            </a:r>
          </a:p>
        </p:txBody>
      </p:sp>
      <p:sp>
        <p:nvSpPr>
          <p:cNvPr id="3" name="Content Placeholder 2">
            <a:extLst>
              <a:ext uri="{FF2B5EF4-FFF2-40B4-BE49-F238E27FC236}">
                <a16:creationId xmlns:a16="http://schemas.microsoft.com/office/drawing/2014/main" id="{D5DDA49F-61B2-D146-A892-BD8446E475D0}"/>
              </a:ext>
            </a:extLst>
          </p:cNvPr>
          <p:cNvSpPr>
            <a:spLocks noGrp="1"/>
          </p:cNvSpPr>
          <p:nvPr>
            <p:ph idx="1"/>
          </p:nvPr>
        </p:nvSpPr>
        <p:spPr/>
        <p:txBody>
          <a:bodyPr>
            <a:normAutofit fontScale="92500" lnSpcReduction="10000"/>
          </a:bodyPr>
          <a:lstStyle/>
          <a:p>
            <a:r>
              <a:rPr lang="en-US"/>
              <a:t>Microsoft Flow is now “Power Automate”</a:t>
            </a:r>
          </a:p>
          <a:p>
            <a:r>
              <a:rPr lang="en-US"/>
              <a:t>New UI flows (preview) </a:t>
            </a:r>
          </a:p>
          <a:p>
            <a:pPr lvl="1">
              <a:spcBef>
                <a:spcPts val="1000"/>
              </a:spcBef>
            </a:pPr>
            <a:r>
              <a:rPr lang="en-US"/>
              <a:t>Provides Robotic Process Automation (RPA) capabilities to Power Automate. </a:t>
            </a:r>
          </a:p>
          <a:p>
            <a:pPr lvl="1">
              <a:spcBef>
                <a:spcPts val="1000"/>
              </a:spcBef>
            </a:pPr>
            <a:r>
              <a:rPr lang="en-US"/>
              <a:t>You can use UI flows to automate repetitive tasks in Windows and Web applications. </a:t>
            </a:r>
          </a:p>
          <a:p>
            <a:pPr lvl="1">
              <a:spcBef>
                <a:spcPts val="1000"/>
              </a:spcBef>
            </a:pPr>
            <a:r>
              <a:rPr lang="en-US"/>
              <a:t>UI flows records and plays back user interface actions (clicks, keyboard input, etc.) for applications that don't have easy-to-use or complete APIs available</a:t>
            </a:r>
          </a:p>
          <a:p>
            <a:pPr marL="57150"/>
            <a:endParaRPr lang="en-US"/>
          </a:p>
          <a:p>
            <a:endParaRPr lang="en-US" sz="1300"/>
          </a:p>
          <a:p>
            <a:pPr marL="0" indent="0">
              <a:buNone/>
            </a:pPr>
            <a:endParaRPr lang="en-US" sz="1300"/>
          </a:p>
          <a:p>
            <a:endParaRPr lang="en-US" sz="1300"/>
          </a:p>
        </p:txBody>
      </p:sp>
      <p:pic>
        <p:nvPicPr>
          <p:cNvPr id="9" name="Picture 8" descr="A picture containing drawing&#10;&#10;Description automatically generated">
            <a:extLst>
              <a:ext uri="{FF2B5EF4-FFF2-40B4-BE49-F238E27FC236}">
                <a16:creationId xmlns:a16="http://schemas.microsoft.com/office/drawing/2014/main" id="{8637E476-E9CB-441D-8E1C-383C2907A0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737876"/>
            <a:ext cx="914400" cy="580059"/>
          </a:xfrm>
          <a:prstGeom prst="rect">
            <a:avLst/>
          </a:prstGeom>
        </p:spPr>
      </p:pic>
    </p:spTree>
    <p:extLst>
      <p:ext uri="{BB962C8B-B14F-4D97-AF65-F5344CB8AC3E}">
        <p14:creationId xmlns:p14="http://schemas.microsoft.com/office/powerpoint/2010/main" val="115523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58CF5-AC2E-A24B-89E6-DAA1C3EBD78A}"/>
              </a:ext>
            </a:extLst>
          </p:cNvPr>
          <p:cNvSpPr>
            <a:spLocks noGrp="1"/>
          </p:cNvSpPr>
          <p:nvPr>
            <p:ph type="title"/>
          </p:nvPr>
        </p:nvSpPr>
        <p:spPr/>
        <p:txBody>
          <a:bodyPr>
            <a:normAutofit/>
          </a:bodyPr>
          <a:lstStyle/>
          <a:p>
            <a:r>
              <a:rPr lang="en-US"/>
              <a:t>Power Automate</a:t>
            </a:r>
          </a:p>
        </p:txBody>
      </p:sp>
      <p:sp>
        <p:nvSpPr>
          <p:cNvPr id="3" name="Content Placeholder 2">
            <a:extLst>
              <a:ext uri="{FF2B5EF4-FFF2-40B4-BE49-F238E27FC236}">
                <a16:creationId xmlns:a16="http://schemas.microsoft.com/office/drawing/2014/main" id="{D5DDA49F-61B2-D146-A892-BD8446E475D0}"/>
              </a:ext>
            </a:extLst>
          </p:cNvPr>
          <p:cNvSpPr>
            <a:spLocks noGrp="1"/>
          </p:cNvSpPr>
          <p:nvPr>
            <p:ph idx="1"/>
          </p:nvPr>
        </p:nvSpPr>
        <p:spPr/>
        <p:txBody>
          <a:bodyPr>
            <a:normAutofit fontScale="92500" lnSpcReduction="10000"/>
          </a:bodyPr>
          <a:lstStyle/>
          <a:p>
            <a:r>
              <a:rPr lang="en-US"/>
              <a:t>New Prebuilt AI Builder models in preview</a:t>
            </a:r>
          </a:p>
          <a:p>
            <a:pPr lvl="1">
              <a:spcBef>
                <a:spcPts val="1000"/>
              </a:spcBef>
            </a:pPr>
            <a:r>
              <a:rPr lang="en-US"/>
              <a:t>AI Builder includes a set of prebuilt models that allow to add intelligence to your apps and flows without having to gather data, build, and train your models</a:t>
            </a:r>
          </a:p>
          <a:p>
            <a:pPr lvl="1">
              <a:spcBef>
                <a:spcPts val="1000"/>
              </a:spcBef>
            </a:pPr>
            <a:r>
              <a:rPr lang="en-US"/>
              <a:t>Business Card Scanner</a:t>
            </a:r>
          </a:p>
          <a:p>
            <a:pPr lvl="1">
              <a:spcBef>
                <a:spcPts val="1000"/>
              </a:spcBef>
            </a:pPr>
            <a:r>
              <a:rPr lang="en-US"/>
              <a:t>Key Phrase Extraction (preview)</a:t>
            </a:r>
          </a:p>
          <a:p>
            <a:pPr lvl="1">
              <a:spcBef>
                <a:spcPts val="1000"/>
              </a:spcBef>
            </a:pPr>
            <a:r>
              <a:rPr lang="en-US"/>
              <a:t>Language Detection (preview)</a:t>
            </a:r>
          </a:p>
          <a:p>
            <a:pPr lvl="1">
              <a:spcBef>
                <a:spcPts val="1000"/>
              </a:spcBef>
            </a:pPr>
            <a:r>
              <a:rPr lang="en-US"/>
              <a:t>Text Recognition (preview)</a:t>
            </a:r>
          </a:p>
          <a:p>
            <a:pPr lvl="1">
              <a:spcBef>
                <a:spcPts val="1000"/>
              </a:spcBef>
            </a:pPr>
            <a:r>
              <a:rPr lang="en-US"/>
              <a:t>Sentiment Analysis (preview)	</a:t>
            </a:r>
          </a:p>
          <a:p>
            <a:endParaRPr lang="en-US" sz="1300"/>
          </a:p>
          <a:p>
            <a:pPr marL="0" indent="0">
              <a:buNone/>
            </a:pPr>
            <a:endParaRPr lang="en-US" sz="1300"/>
          </a:p>
          <a:p>
            <a:endParaRPr lang="en-US" sz="1300"/>
          </a:p>
        </p:txBody>
      </p:sp>
      <p:pic>
        <p:nvPicPr>
          <p:cNvPr id="9" name="Picture 8" descr="A picture containing drawing&#10;&#10;Description automatically generated">
            <a:extLst>
              <a:ext uri="{FF2B5EF4-FFF2-40B4-BE49-F238E27FC236}">
                <a16:creationId xmlns:a16="http://schemas.microsoft.com/office/drawing/2014/main" id="{8637E476-E9CB-441D-8E1C-383C2907A0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737876"/>
            <a:ext cx="914400" cy="580059"/>
          </a:xfrm>
          <a:prstGeom prst="rect">
            <a:avLst/>
          </a:prstGeom>
        </p:spPr>
      </p:pic>
    </p:spTree>
    <p:extLst>
      <p:ext uri="{BB962C8B-B14F-4D97-AF65-F5344CB8AC3E}">
        <p14:creationId xmlns:p14="http://schemas.microsoft.com/office/powerpoint/2010/main" val="379226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D548EC8D-C822-45D6-A8BA-3E9DDA37C7BA}"/>
              </a:ext>
            </a:extLst>
          </p:cNvPr>
          <p:cNvSpPr/>
          <p:nvPr/>
        </p:nvSpPr>
        <p:spPr>
          <a:xfrm>
            <a:off x="615652" y="788621"/>
            <a:ext cx="5023148" cy="1213837"/>
          </a:xfrm>
          <a:prstGeom prst="rect">
            <a:avLst/>
          </a:prstGeom>
        </p:spPr>
        <p:txBody>
          <a:bodyPr wrap="square" lIns="0" tIns="0" rIns="0" bIns="0">
            <a:noAutofit/>
          </a:bodyPr>
          <a:lstStyle/>
          <a:p>
            <a:r>
              <a:rPr lang="en-US" sz="3600">
                <a:latin typeface="+mj-lt"/>
              </a:rPr>
              <a:t>Bridging automation between the old and new</a:t>
            </a:r>
          </a:p>
        </p:txBody>
      </p:sp>
      <p:sp>
        <p:nvSpPr>
          <p:cNvPr id="11" name="Rectangle 10">
            <a:extLst>
              <a:ext uri="{FF2B5EF4-FFF2-40B4-BE49-F238E27FC236}">
                <a16:creationId xmlns:a16="http://schemas.microsoft.com/office/drawing/2014/main" id="{CC6A4BB8-4DD0-4E25-9B5C-4EB60DE569E1}"/>
              </a:ext>
            </a:extLst>
          </p:cNvPr>
          <p:cNvSpPr/>
          <p:nvPr/>
        </p:nvSpPr>
        <p:spPr bwMode="auto">
          <a:xfrm>
            <a:off x="3216942" y="3498867"/>
            <a:ext cx="1390174" cy="55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800">
                <a:solidFill>
                  <a:schemeClr val="tx1"/>
                </a:solidFill>
                <a:latin typeface="+mj-lt"/>
                <a:ea typeface="Segoe UI" pitchFamily="34" charset="0"/>
                <a:cs typeface="Segoe UI" pitchFamily="34" charset="0"/>
              </a:rPr>
              <a:t>Legacy apps </a:t>
            </a:r>
          </a:p>
          <a:p>
            <a:pPr algn="ctr" defTabSz="932472" fontAlgn="base">
              <a:spcBef>
                <a:spcPct val="0"/>
              </a:spcBef>
              <a:spcAft>
                <a:spcPct val="0"/>
              </a:spcAft>
            </a:pPr>
            <a:r>
              <a:rPr lang="en-IN" sz="1800">
                <a:solidFill>
                  <a:schemeClr val="tx1"/>
                </a:solidFill>
                <a:latin typeface="+mj-lt"/>
                <a:ea typeface="Segoe UI" pitchFamily="34" charset="0"/>
                <a:cs typeface="Segoe UI" pitchFamily="34" charset="0"/>
              </a:rPr>
              <a:t>without APIs</a:t>
            </a:r>
          </a:p>
          <a:p>
            <a:pPr algn="ctr" defTabSz="932472" fontAlgn="base">
              <a:spcBef>
                <a:spcPct val="0"/>
              </a:spcBef>
              <a:spcAft>
                <a:spcPct val="0"/>
              </a:spcAft>
            </a:pPr>
            <a:r>
              <a:rPr lang="en-IN">
                <a:solidFill>
                  <a:srgbClr val="FF0000"/>
                </a:solidFill>
                <a:latin typeface="+mj-lt"/>
                <a:ea typeface="Segoe UI" pitchFamily="34" charset="0"/>
                <a:cs typeface="Segoe UI" pitchFamily="34" charset="0"/>
              </a:rPr>
              <a:t>(NEW)</a:t>
            </a:r>
            <a:endParaRPr lang="en-IN" sz="1800">
              <a:solidFill>
                <a:srgbClr val="FF0000"/>
              </a:solidFill>
              <a:latin typeface="+mj-lt"/>
              <a:ea typeface="Segoe UI" pitchFamily="34" charset="0"/>
              <a:cs typeface="Segoe UI" pitchFamily="34" charset="0"/>
            </a:endParaRPr>
          </a:p>
        </p:txBody>
      </p:sp>
      <p:sp>
        <p:nvSpPr>
          <p:cNvPr id="72" name="Rectangle 71">
            <a:extLst>
              <a:ext uri="{FF2B5EF4-FFF2-40B4-BE49-F238E27FC236}">
                <a16:creationId xmlns:a16="http://schemas.microsoft.com/office/drawing/2014/main" id="{CDE24655-1673-4AA0-B84B-722A24B3C2C5}"/>
              </a:ext>
            </a:extLst>
          </p:cNvPr>
          <p:cNvSpPr/>
          <p:nvPr/>
        </p:nvSpPr>
        <p:spPr bwMode="auto">
          <a:xfrm>
            <a:off x="10271727" y="3410347"/>
            <a:ext cx="1618776" cy="5590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800">
                <a:solidFill>
                  <a:schemeClr val="tx1"/>
                </a:solidFill>
                <a:latin typeface="+mj-lt"/>
                <a:ea typeface="Segoe UI" pitchFamily="34" charset="0"/>
                <a:cs typeface="Segoe UI" pitchFamily="34" charset="0"/>
              </a:rPr>
              <a:t>Programmatic Apps with APIs</a:t>
            </a:r>
          </a:p>
        </p:txBody>
      </p:sp>
      <p:graphicFrame>
        <p:nvGraphicFramePr>
          <p:cNvPr id="2" name="Diagram 1">
            <a:extLst>
              <a:ext uri="{FF2B5EF4-FFF2-40B4-BE49-F238E27FC236}">
                <a16:creationId xmlns:a16="http://schemas.microsoft.com/office/drawing/2014/main" id="{3510E764-125E-4451-8A8B-FD8F9D4827D3}"/>
              </a:ext>
            </a:extLst>
          </p:cNvPr>
          <p:cNvGraphicFramePr/>
          <p:nvPr/>
        </p:nvGraphicFramePr>
        <p:xfrm>
          <a:off x="4628561" y="921786"/>
          <a:ext cx="5683227" cy="55361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TextBox 31">
            <a:extLst>
              <a:ext uri="{FF2B5EF4-FFF2-40B4-BE49-F238E27FC236}">
                <a16:creationId xmlns:a16="http://schemas.microsoft.com/office/drawing/2014/main" id="{11E37203-464E-402A-A9B3-D4C707C881B6}"/>
              </a:ext>
            </a:extLst>
          </p:cNvPr>
          <p:cNvSpPr txBox="1"/>
          <p:nvPr/>
        </p:nvSpPr>
        <p:spPr>
          <a:xfrm>
            <a:off x="539681" y="2049747"/>
            <a:ext cx="3372348" cy="646331"/>
          </a:xfrm>
          <a:prstGeom prst="rect">
            <a:avLst/>
          </a:prstGeom>
          <a:noFill/>
        </p:spPr>
        <p:txBody>
          <a:bodyPr wrap="square">
            <a:spAutoFit/>
          </a:bodyPr>
          <a:lstStyle/>
          <a:p>
            <a:pPr defTabSz="932472" fontAlgn="base">
              <a:spcBef>
                <a:spcPct val="0"/>
              </a:spcBef>
              <a:spcAft>
                <a:spcPct val="0"/>
              </a:spcAft>
            </a:pPr>
            <a:r>
              <a:rPr lang="en-US" sz="1800">
                <a:solidFill>
                  <a:schemeClr val="tx1"/>
                </a:solidFill>
                <a:latin typeface="+mj-lt"/>
                <a:ea typeface="Segoe UI" pitchFamily="34" charset="0"/>
                <a:cs typeface="Segoe UI" pitchFamily="34" charset="0"/>
              </a:rPr>
              <a:t>Power Automate bridges the gap</a:t>
            </a:r>
            <a:r>
              <a:rPr lang="en-US">
                <a:latin typeface="+mj-lt"/>
                <a:ea typeface="Segoe UI" pitchFamily="34" charset="0"/>
                <a:cs typeface="Segoe UI" pitchFamily="34" charset="0"/>
              </a:rPr>
              <a:t> </a:t>
            </a:r>
            <a:r>
              <a:rPr lang="en-US" sz="1800">
                <a:solidFill>
                  <a:schemeClr val="tx1"/>
                </a:solidFill>
                <a:latin typeface="+mj-lt"/>
                <a:ea typeface="Segoe UI" pitchFamily="34" charset="0"/>
                <a:cs typeface="Segoe UI" pitchFamily="34" charset="0"/>
              </a:rPr>
              <a:t>across on-premises and the cloud</a:t>
            </a:r>
            <a:endParaRPr lang="en-US"/>
          </a:p>
        </p:txBody>
      </p:sp>
      <p:grpSp>
        <p:nvGrpSpPr>
          <p:cNvPr id="6" name="Group 5">
            <a:extLst>
              <a:ext uri="{FF2B5EF4-FFF2-40B4-BE49-F238E27FC236}">
                <a16:creationId xmlns:a16="http://schemas.microsoft.com/office/drawing/2014/main" id="{B3EAD998-A993-4BE2-ABD5-71AB08E2CFDD}"/>
              </a:ext>
            </a:extLst>
          </p:cNvPr>
          <p:cNvGrpSpPr/>
          <p:nvPr/>
        </p:nvGrpSpPr>
        <p:grpSpPr>
          <a:xfrm>
            <a:off x="7161030" y="3471922"/>
            <a:ext cx="618288" cy="469738"/>
            <a:chOff x="7374863" y="2707824"/>
            <a:chExt cx="618288" cy="469738"/>
          </a:xfrm>
          <a:solidFill>
            <a:schemeClr val="bg1"/>
          </a:solidFill>
        </p:grpSpPr>
        <p:sp>
          <p:nvSpPr>
            <p:cNvPr id="4" name="Freeform 5">
              <a:extLst>
                <a:ext uri="{FF2B5EF4-FFF2-40B4-BE49-F238E27FC236}">
                  <a16:creationId xmlns:a16="http://schemas.microsoft.com/office/drawing/2014/main" id="{F1B36216-5E4D-4527-B8F7-20B192A21D20}"/>
                </a:ext>
              </a:extLst>
            </p:cNvPr>
            <p:cNvSpPr>
              <a:spLocks/>
            </p:cNvSpPr>
            <p:nvPr/>
          </p:nvSpPr>
          <p:spPr bwMode="auto">
            <a:xfrm>
              <a:off x="7374863" y="2707824"/>
              <a:ext cx="618288" cy="407042"/>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5" name="Freeform 6">
              <a:extLst>
                <a:ext uri="{FF2B5EF4-FFF2-40B4-BE49-F238E27FC236}">
                  <a16:creationId xmlns:a16="http://schemas.microsoft.com/office/drawing/2014/main" id="{348445BC-1D78-4F7C-BEE4-057647BC9935}"/>
                </a:ext>
              </a:extLst>
            </p:cNvPr>
            <p:cNvSpPr>
              <a:spLocks noEditPoints="1"/>
            </p:cNvSpPr>
            <p:nvPr/>
          </p:nvSpPr>
          <p:spPr bwMode="auto">
            <a:xfrm>
              <a:off x="7374863" y="2809102"/>
              <a:ext cx="472638" cy="368460"/>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D7E17ED2-2C16-46C2-A085-56CD3FC80A64}"/>
              </a:ext>
            </a:extLst>
          </p:cNvPr>
          <p:cNvGrpSpPr/>
          <p:nvPr/>
        </p:nvGrpSpPr>
        <p:grpSpPr>
          <a:xfrm>
            <a:off x="4999038" y="3389699"/>
            <a:ext cx="754395" cy="603753"/>
            <a:chOff x="9341803" y="3019357"/>
            <a:chExt cx="1471904" cy="1177985"/>
          </a:xfrm>
        </p:grpSpPr>
        <p:sp>
          <p:nvSpPr>
            <p:cNvPr id="39" name="PC1_E977" title="Icon of a desktop PC">
              <a:extLst>
                <a:ext uri="{FF2B5EF4-FFF2-40B4-BE49-F238E27FC236}">
                  <a16:creationId xmlns:a16="http://schemas.microsoft.com/office/drawing/2014/main" id="{E9D83D1F-528F-4976-84BD-E6C4B3F5F2EC}"/>
                </a:ext>
              </a:extLst>
            </p:cNvPr>
            <p:cNvSpPr>
              <a:spLocks noChangeAspect="1" noEditPoints="1"/>
            </p:cNvSpPr>
            <p:nvPr/>
          </p:nvSpPr>
          <p:spPr bwMode="auto">
            <a:xfrm flipH="1">
              <a:off x="9341803" y="3019357"/>
              <a:ext cx="1471904" cy="117798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1" name="Group 40">
              <a:extLst>
                <a:ext uri="{FF2B5EF4-FFF2-40B4-BE49-F238E27FC236}">
                  <a16:creationId xmlns:a16="http://schemas.microsoft.com/office/drawing/2014/main" id="{192C2ACB-FD3C-430B-9995-7C0663B22640}"/>
                </a:ext>
              </a:extLst>
            </p:cNvPr>
            <p:cNvGrpSpPr/>
            <p:nvPr/>
          </p:nvGrpSpPr>
          <p:grpSpPr>
            <a:xfrm>
              <a:off x="9608315" y="3488716"/>
              <a:ext cx="415658" cy="415654"/>
              <a:chOff x="2676904" y="2244399"/>
              <a:chExt cx="559524" cy="559518"/>
            </a:xfrm>
          </p:grpSpPr>
          <p:sp>
            <p:nvSpPr>
              <p:cNvPr id="42" name="Freeform: Shape 41">
                <a:extLst>
                  <a:ext uri="{FF2B5EF4-FFF2-40B4-BE49-F238E27FC236}">
                    <a16:creationId xmlns:a16="http://schemas.microsoft.com/office/drawing/2014/main" id="{FAF41DEC-65A8-49E5-952A-115F42BB49C1}"/>
                  </a:ext>
                </a:extLst>
              </p:cNvPr>
              <p:cNvSpPr/>
              <p:nvPr/>
            </p:nvSpPr>
            <p:spPr>
              <a:xfrm>
                <a:off x="2676904" y="2244399"/>
                <a:ext cx="559524" cy="559518"/>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7D523C7-85D7-4082-8BB2-1B6A75DE2F49}"/>
                  </a:ext>
                </a:extLst>
              </p:cNvPr>
              <p:cNvSpPr/>
              <p:nvPr/>
            </p:nvSpPr>
            <p:spPr>
              <a:xfrm>
                <a:off x="2755427" y="2319275"/>
                <a:ext cx="163795" cy="163795"/>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73293A1E-DCB1-4BA3-84A4-C79009D06775}"/>
                  </a:ext>
                </a:extLst>
              </p:cNvPr>
              <p:cNvSpPr/>
              <p:nvPr/>
            </p:nvSpPr>
            <p:spPr>
              <a:xfrm>
                <a:off x="2755427" y="2548296"/>
                <a:ext cx="163795" cy="163795"/>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EC8B1591-A274-4D9B-8D0F-A37286CCA20B}"/>
                  </a:ext>
                </a:extLst>
              </p:cNvPr>
              <p:cNvSpPr/>
              <p:nvPr/>
            </p:nvSpPr>
            <p:spPr>
              <a:xfrm>
                <a:off x="2989567" y="2319275"/>
                <a:ext cx="163795" cy="163795"/>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3" name="Group 72">
            <a:extLst>
              <a:ext uri="{FF2B5EF4-FFF2-40B4-BE49-F238E27FC236}">
                <a16:creationId xmlns:a16="http://schemas.microsoft.com/office/drawing/2014/main" id="{DF8000BD-9A85-446F-B9B7-61F705261CFA}"/>
              </a:ext>
            </a:extLst>
          </p:cNvPr>
          <p:cNvGrpSpPr/>
          <p:nvPr/>
        </p:nvGrpSpPr>
        <p:grpSpPr>
          <a:xfrm>
            <a:off x="9212383" y="3384327"/>
            <a:ext cx="618288" cy="618282"/>
            <a:chOff x="2676904" y="2244399"/>
            <a:chExt cx="559524" cy="559518"/>
          </a:xfrm>
        </p:grpSpPr>
        <p:sp>
          <p:nvSpPr>
            <p:cNvPr id="74" name="Freeform: Shape 73">
              <a:extLst>
                <a:ext uri="{FF2B5EF4-FFF2-40B4-BE49-F238E27FC236}">
                  <a16:creationId xmlns:a16="http://schemas.microsoft.com/office/drawing/2014/main" id="{74075B30-085D-4927-B228-7F5CA5480D28}"/>
                </a:ext>
              </a:extLst>
            </p:cNvPr>
            <p:cNvSpPr/>
            <p:nvPr/>
          </p:nvSpPr>
          <p:spPr>
            <a:xfrm>
              <a:off x="2676904" y="2244399"/>
              <a:ext cx="559524" cy="559518"/>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3BBBB352-ABA8-4BC0-9C41-0F981279E38D}"/>
                </a:ext>
              </a:extLst>
            </p:cNvPr>
            <p:cNvSpPr/>
            <p:nvPr/>
          </p:nvSpPr>
          <p:spPr>
            <a:xfrm>
              <a:off x="2755427" y="2319275"/>
              <a:ext cx="163795" cy="163795"/>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3CDF4167-19A1-4F57-995D-E25B61CF48B7}"/>
                </a:ext>
              </a:extLst>
            </p:cNvPr>
            <p:cNvSpPr/>
            <p:nvPr/>
          </p:nvSpPr>
          <p:spPr>
            <a:xfrm>
              <a:off x="2755427" y="2548296"/>
              <a:ext cx="163795" cy="163795"/>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F9883D-3CBA-40DE-BCAB-BA805FD0F29B}"/>
                </a:ext>
              </a:extLst>
            </p:cNvPr>
            <p:cNvSpPr/>
            <p:nvPr/>
          </p:nvSpPr>
          <p:spPr>
            <a:xfrm>
              <a:off x="2989567" y="2319275"/>
              <a:ext cx="163795" cy="163795"/>
            </a:xfrm>
            <a:custGeom>
              <a:avLst/>
              <a:gdLst>
                <a:gd name="connsiteX0" fmla="*/ 0 w 180498"/>
                <a:gd name="connsiteY0" fmla="*/ 0 h 180498"/>
                <a:gd name="connsiteX1" fmla="*/ 180499 w 180498"/>
                <a:gd name="connsiteY1" fmla="*/ 0 h 180498"/>
                <a:gd name="connsiteX2" fmla="*/ 180499 w 180498"/>
                <a:gd name="connsiteY2" fmla="*/ 180499 h 180498"/>
                <a:gd name="connsiteX3" fmla="*/ 0 w 180498"/>
                <a:gd name="connsiteY3" fmla="*/ 180499 h 180498"/>
              </a:gdLst>
              <a:ahLst/>
              <a:cxnLst>
                <a:cxn ang="0">
                  <a:pos x="connsiteX0" y="connsiteY0"/>
                </a:cxn>
                <a:cxn ang="0">
                  <a:pos x="connsiteX1" y="connsiteY1"/>
                </a:cxn>
                <a:cxn ang="0">
                  <a:pos x="connsiteX2" y="connsiteY2"/>
                </a:cxn>
                <a:cxn ang="0">
                  <a:pos x="connsiteX3" y="connsiteY3"/>
                </a:cxn>
              </a:cxnLst>
              <a:rect l="l" t="t" r="r" b="b"/>
              <a:pathLst>
                <a:path w="180498" h="180498">
                  <a:moveTo>
                    <a:pt x="0" y="0"/>
                  </a:moveTo>
                  <a:lnTo>
                    <a:pt x="180499" y="0"/>
                  </a:lnTo>
                  <a:lnTo>
                    <a:pt x="180499" y="180499"/>
                  </a:lnTo>
                  <a:lnTo>
                    <a:pt x="0" y="180499"/>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6" name="Graphic 45" descr="Cycle with people">
            <a:extLst>
              <a:ext uri="{FF2B5EF4-FFF2-40B4-BE49-F238E27FC236}">
                <a16:creationId xmlns:a16="http://schemas.microsoft.com/office/drawing/2014/main" id="{77D17DC7-01A2-4ACA-A558-D215009D87F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1074" y="5261025"/>
            <a:ext cx="914400" cy="914400"/>
          </a:xfrm>
          <a:prstGeom prst="rect">
            <a:avLst/>
          </a:prstGeom>
        </p:spPr>
      </p:pic>
      <p:pic>
        <p:nvPicPr>
          <p:cNvPr id="51" name="Graphic 50" descr="Eye">
            <a:extLst>
              <a:ext uri="{FF2B5EF4-FFF2-40B4-BE49-F238E27FC236}">
                <a16:creationId xmlns:a16="http://schemas.microsoft.com/office/drawing/2014/main" id="{71DECD93-A2C7-48ED-BDA3-412A370AD56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35695" y="1333500"/>
            <a:ext cx="668958" cy="668958"/>
          </a:xfrm>
          <a:prstGeom prst="rect">
            <a:avLst/>
          </a:prstGeom>
        </p:spPr>
      </p:pic>
      <p:sp>
        <p:nvSpPr>
          <p:cNvPr id="3" name="Title 2">
            <a:extLst>
              <a:ext uri="{FF2B5EF4-FFF2-40B4-BE49-F238E27FC236}">
                <a16:creationId xmlns:a16="http://schemas.microsoft.com/office/drawing/2014/main" id="{9BF51908-4F8B-46DE-9A62-4380E1CFBD2A}"/>
              </a:ext>
            </a:extLst>
          </p:cNvPr>
          <p:cNvSpPr>
            <a:spLocks noGrp="1"/>
          </p:cNvSpPr>
          <p:nvPr>
            <p:ph type="title"/>
          </p:nvPr>
        </p:nvSpPr>
        <p:spPr/>
        <p:txBody>
          <a:bodyPr/>
          <a:lstStyle/>
          <a:p>
            <a:endParaRPr lang="nl-NL"/>
          </a:p>
        </p:txBody>
      </p:sp>
      <p:sp>
        <p:nvSpPr>
          <p:cNvPr id="8" name="Content Placeholder 7">
            <a:extLst>
              <a:ext uri="{FF2B5EF4-FFF2-40B4-BE49-F238E27FC236}">
                <a16:creationId xmlns:a16="http://schemas.microsoft.com/office/drawing/2014/main" id="{D9817754-AEFF-4C12-BE43-80057D330198}"/>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5598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8D12D-1174-457D-86AB-5E588DEE2532}"/>
              </a:ext>
            </a:extLst>
          </p:cNvPr>
          <p:cNvSpPr>
            <a:spLocks noGrp="1"/>
          </p:cNvSpPr>
          <p:nvPr>
            <p:ph type="title"/>
          </p:nvPr>
        </p:nvSpPr>
        <p:spPr/>
        <p:txBody>
          <a:bodyPr>
            <a:normAutofit/>
          </a:bodyPr>
          <a:lstStyle/>
          <a:p>
            <a:r>
              <a:rPr lang="en-US"/>
              <a:t>AI Builder</a:t>
            </a:r>
          </a:p>
        </p:txBody>
      </p:sp>
      <p:sp>
        <p:nvSpPr>
          <p:cNvPr id="3" name="Content Placeholder 2">
            <a:extLst>
              <a:ext uri="{FF2B5EF4-FFF2-40B4-BE49-F238E27FC236}">
                <a16:creationId xmlns:a16="http://schemas.microsoft.com/office/drawing/2014/main" id="{AF2A521A-07D9-4ED8-AD22-BCA9A7D1D93A}"/>
              </a:ext>
            </a:extLst>
          </p:cNvPr>
          <p:cNvSpPr>
            <a:spLocks noGrp="1"/>
          </p:cNvSpPr>
          <p:nvPr>
            <p:ph idx="1"/>
          </p:nvPr>
        </p:nvSpPr>
        <p:spPr/>
        <p:txBody>
          <a:bodyPr/>
          <a:lstStyle/>
          <a:p>
            <a:endParaRPr lang="nl-NL"/>
          </a:p>
        </p:txBody>
      </p:sp>
      <p:pic>
        <p:nvPicPr>
          <p:cNvPr id="10244" name="Picture 4" descr="AI Builder home page">
            <a:extLst>
              <a:ext uri="{FF2B5EF4-FFF2-40B4-BE49-F238E27FC236}">
                <a16:creationId xmlns:a16="http://schemas.microsoft.com/office/drawing/2014/main" id="{79CD54CB-874F-48B6-8512-32488DFF34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305900"/>
            <a:ext cx="11353800" cy="4970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96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8D12D-1174-457D-86AB-5E588DEE2532}"/>
              </a:ext>
            </a:extLst>
          </p:cNvPr>
          <p:cNvSpPr>
            <a:spLocks noGrp="1"/>
          </p:cNvSpPr>
          <p:nvPr>
            <p:ph type="title"/>
          </p:nvPr>
        </p:nvSpPr>
        <p:spPr/>
        <p:txBody>
          <a:bodyPr>
            <a:normAutofit/>
          </a:bodyPr>
          <a:lstStyle/>
          <a:p>
            <a:r>
              <a:rPr lang="en-US"/>
              <a:t>AI Builder</a:t>
            </a:r>
          </a:p>
        </p:txBody>
      </p:sp>
      <p:sp>
        <p:nvSpPr>
          <p:cNvPr id="3" name="Content Placeholder 2">
            <a:extLst>
              <a:ext uri="{FF2B5EF4-FFF2-40B4-BE49-F238E27FC236}">
                <a16:creationId xmlns:a16="http://schemas.microsoft.com/office/drawing/2014/main" id="{6FC85E56-62EE-45B9-AC89-8776FAC81BC9}"/>
              </a:ext>
            </a:extLst>
          </p:cNvPr>
          <p:cNvSpPr>
            <a:spLocks noGrp="1"/>
          </p:cNvSpPr>
          <p:nvPr>
            <p:ph idx="1"/>
          </p:nvPr>
        </p:nvSpPr>
        <p:spPr/>
        <p:txBody>
          <a:bodyPr/>
          <a:lstStyle/>
          <a:p>
            <a:endParaRPr lang="nl-NL"/>
          </a:p>
        </p:txBody>
      </p:sp>
      <p:pic>
        <p:nvPicPr>
          <p:cNvPr id="10242" name="Picture 2" descr="Select detected fields">
            <a:extLst>
              <a:ext uri="{FF2B5EF4-FFF2-40B4-BE49-F238E27FC236}">
                <a16:creationId xmlns:a16="http://schemas.microsoft.com/office/drawing/2014/main" id="{CD1A7B2C-EC50-4B4E-91E6-872380EA10D1}"/>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838200" y="908335"/>
            <a:ext cx="8296478" cy="5949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30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8D12D-1174-457D-86AB-5E588DEE2532}"/>
              </a:ext>
            </a:extLst>
          </p:cNvPr>
          <p:cNvSpPr>
            <a:spLocks noGrp="1"/>
          </p:cNvSpPr>
          <p:nvPr>
            <p:ph type="title"/>
          </p:nvPr>
        </p:nvSpPr>
        <p:spPr/>
        <p:txBody>
          <a:bodyPr>
            <a:normAutofit/>
          </a:bodyPr>
          <a:lstStyle/>
          <a:p>
            <a:r>
              <a:rPr lang="en-US"/>
              <a:t>AI Builder</a:t>
            </a:r>
          </a:p>
        </p:txBody>
      </p:sp>
      <p:sp>
        <p:nvSpPr>
          <p:cNvPr id="3" name="Content Placeholder 2">
            <a:extLst>
              <a:ext uri="{FF2B5EF4-FFF2-40B4-BE49-F238E27FC236}">
                <a16:creationId xmlns:a16="http://schemas.microsoft.com/office/drawing/2014/main" id="{1EC9BF7E-D792-4DDF-A3D0-66B335FB4762}"/>
              </a:ext>
            </a:extLst>
          </p:cNvPr>
          <p:cNvSpPr>
            <a:spLocks noGrp="1"/>
          </p:cNvSpPr>
          <p:nvPr>
            <p:ph idx="1"/>
          </p:nvPr>
        </p:nvSpPr>
        <p:spPr/>
        <p:txBody>
          <a:bodyPr/>
          <a:lstStyle/>
          <a:p>
            <a:endParaRPr lang="nl-NL"/>
          </a:p>
        </p:txBody>
      </p:sp>
      <p:pic>
        <p:nvPicPr>
          <p:cNvPr id="4" name="Picture 3">
            <a:extLst>
              <a:ext uri="{FF2B5EF4-FFF2-40B4-BE49-F238E27FC236}">
                <a16:creationId xmlns:a16="http://schemas.microsoft.com/office/drawing/2014/main" id="{F5BD148E-2B3C-49E7-AACB-CB36EC34C0B3}"/>
              </a:ext>
            </a:extLst>
          </p:cNvPr>
          <p:cNvPicPr>
            <a:picLocks noChangeAspect="1"/>
          </p:cNvPicPr>
          <p:nvPr/>
        </p:nvPicPr>
        <p:blipFill>
          <a:blip r:embed="rId2"/>
          <a:stretch>
            <a:fillRect/>
          </a:stretch>
        </p:blipFill>
        <p:spPr>
          <a:xfrm>
            <a:off x="838200" y="992222"/>
            <a:ext cx="5887272" cy="4229690"/>
          </a:xfrm>
          <a:prstGeom prst="rect">
            <a:avLst/>
          </a:prstGeom>
        </p:spPr>
      </p:pic>
    </p:spTree>
    <p:extLst>
      <p:ext uri="{BB962C8B-B14F-4D97-AF65-F5344CB8AC3E}">
        <p14:creationId xmlns:p14="http://schemas.microsoft.com/office/powerpoint/2010/main" val="288969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7B9DF6-772F-447F-8FF6-629AC6F85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F47B9DF6-772F-447F-8FF6-629AC6F858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0DBBE5-F821-458D-884C-F88E3286C1A0}"/>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cxnSp>
        <p:nvCxnSpPr>
          <p:cNvPr id="32" name="Straight Connector 31">
            <a:extLst>
              <a:ext uri="{FF2B5EF4-FFF2-40B4-BE49-F238E27FC236}">
                <a16:creationId xmlns:a16="http://schemas.microsoft.com/office/drawing/2014/main" id="{F9918996-A8B4-4927-8332-9C6DE61B13FB}"/>
              </a:ext>
            </a:extLst>
          </p:cNvPr>
          <p:cNvCxnSpPr>
            <a:cxnSpLocks/>
          </p:cNvCxnSpPr>
          <p:nvPr/>
        </p:nvCxnSpPr>
        <p:spPr>
          <a:xfrm>
            <a:off x="6546881" y="4305300"/>
            <a:ext cx="0" cy="668338"/>
          </a:xfrm>
          <a:prstGeom prst="line">
            <a:avLst/>
          </a:prstGeom>
          <a:ln w="635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387DD6E-19C7-4105-A786-BCE8527C2D6D}"/>
              </a:ext>
            </a:extLst>
          </p:cNvPr>
          <p:cNvCxnSpPr>
            <a:cxnSpLocks/>
          </p:cNvCxnSpPr>
          <p:nvPr/>
        </p:nvCxnSpPr>
        <p:spPr>
          <a:xfrm>
            <a:off x="9251981" y="4305300"/>
            <a:ext cx="0" cy="668338"/>
          </a:xfrm>
          <a:prstGeom prst="line">
            <a:avLst/>
          </a:prstGeom>
          <a:ln w="635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6E6EB6F-E040-435C-9DD9-BE3E40D96743}"/>
              </a:ext>
            </a:extLst>
          </p:cNvPr>
          <p:cNvGrpSpPr/>
          <p:nvPr/>
        </p:nvGrpSpPr>
        <p:grpSpPr>
          <a:xfrm>
            <a:off x="587077" y="595853"/>
            <a:ext cx="3822346" cy="2680747"/>
            <a:chOff x="587077" y="595853"/>
            <a:chExt cx="3822346" cy="2680747"/>
          </a:xfrm>
        </p:grpSpPr>
        <p:sp>
          <p:nvSpPr>
            <p:cNvPr id="31" name="Rectangle 30">
              <a:extLst>
                <a:ext uri="{FF2B5EF4-FFF2-40B4-BE49-F238E27FC236}">
                  <a16:creationId xmlns:a16="http://schemas.microsoft.com/office/drawing/2014/main" id="{60FB15EE-6018-4C88-9DD4-51A7738B0EE1}"/>
                </a:ext>
              </a:extLst>
            </p:cNvPr>
            <p:cNvSpPr/>
            <p:nvPr/>
          </p:nvSpPr>
          <p:spPr>
            <a:xfrm>
              <a:off x="587077" y="595853"/>
              <a:ext cx="3822346" cy="1708518"/>
            </a:xfrm>
            <a:prstGeom prst="rect">
              <a:avLst/>
            </a:prstGeom>
          </p:spPr>
          <p:txBody>
            <a:bodyPr wrap="square" lIns="0" tIns="0" rIns="0" bIns="0">
              <a:noAutofit/>
            </a:bodyPr>
            <a:lstStyle/>
            <a:p>
              <a:r>
                <a:rPr lang="en-US" sz="3400">
                  <a:latin typeface="+mj-lt"/>
                </a:rPr>
                <a:t>Automating Apps without APIs for our Modern World:</a:t>
              </a:r>
            </a:p>
          </p:txBody>
        </p:sp>
        <p:sp>
          <p:nvSpPr>
            <p:cNvPr id="7" name="Rectangle 6">
              <a:extLst>
                <a:ext uri="{FF2B5EF4-FFF2-40B4-BE49-F238E27FC236}">
                  <a16:creationId xmlns:a16="http://schemas.microsoft.com/office/drawing/2014/main" id="{2F7C33AF-3F2F-42A5-82C0-0F48A74D6E18}"/>
                </a:ext>
              </a:extLst>
            </p:cNvPr>
            <p:cNvSpPr/>
            <p:nvPr/>
          </p:nvSpPr>
          <p:spPr>
            <a:xfrm>
              <a:off x="587077" y="2317463"/>
              <a:ext cx="3478511" cy="959137"/>
            </a:xfrm>
            <a:prstGeom prst="rect">
              <a:avLst/>
            </a:prstGeom>
          </p:spPr>
          <p:txBody>
            <a:bodyPr lIns="0" tIns="0" rIns="0" bIns="0">
              <a:noAutofit/>
            </a:bodyPr>
            <a:lstStyle/>
            <a:p>
              <a:r>
                <a:rPr lang="en-US" sz="2000"/>
                <a:t>Automate Apps with Robotic Process Automation (RPA) Capabilities</a:t>
              </a:r>
              <a:endParaRPr lang="en-IN" sz="2000"/>
            </a:p>
          </p:txBody>
        </p:sp>
      </p:grpSp>
      <p:grpSp>
        <p:nvGrpSpPr>
          <p:cNvPr id="102" name="Group 101">
            <a:extLst>
              <a:ext uri="{FF2B5EF4-FFF2-40B4-BE49-F238E27FC236}">
                <a16:creationId xmlns:a16="http://schemas.microsoft.com/office/drawing/2014/main" id="{C48FEE0F-7CB9-4B71-8A5E-CCA4CA601461}"/>
              </a:ext>
            </a:extLst>
          </p:cNvPr>
          <p:cNvGrpSpPr/>
          <p:nvPr/>
        </p:nvGrpSpPr>
        <p:grpSpPr>
          <a:xfrm>
            <a:off x="4203761" y="2461394"/>
            <a:ext cx="1981140" cy="2724175"/>
            <a:chOff x="4203761" y="2461394"/>
            <a:chExt cx="1981140" cy="2724175"/>
          </a:xfrm>
        </p:grpSpPr>
        <p:sp>
          <p:nvSpPr>
            <p:cNvPr id="35" name="Rectangle 34">
              <a:extLst>
                <a:ext uri="{FF2B5EF4-FFF2-40B4-BE49-F238E27FC236}">
                  <a16:creationId xmlns:a16="http://schemas.microsoft.com/office/drawing/2014/main" id="{508449DA-04C9-4EEA-B3ED-60CF4DCE9B16}"/>
                </a:ext>
              </a:extLst>
            </p:cNvPr>
            <p:cNvSpPr/>
            <p:nvPr/>
          </p:nvSpPr>
          <p:spPr bwMode="auto">
            <a:xfrm>
              <a:off x="4203761" y="4093369"/>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tx1"/>
                  </a:solidFill>
                  <a:latin typeface="+mj-lt"/>
                  <a:ea typeface="Segoe UI" pitchFamily="34" charset="0"/>
                  <a:cs typeface="Segoe UI" pitchFamily="34" charset="0"/>
                </a:rPr>
                <a:t>Record the Task</a:t>
              </a:r>
            </a:p>
          </p:txBody>
        </p:sp>
        <p:grpSp>
          <p:nvGrpSpPr>
            <p:cNvPr id="22" name="Group 21">
              <a:extLst>
                <a:ext uri="{FF2B5EF4-FFF2-40B4-BE49-F238E27FC236}">
                  <a16:creationId xmlns:a16="http://schemas.microsoft.com/office/drawing/2014/main" id="{B55BA10D-AD6F-4FAE-9AB9-A05167BC93FE}"/>
                </a:ext>
              </a:extLst>
            </p:cNvPr>
            <p:cNvGrpSpPr/>
            <p:nvPr/>
          </p:nvGrpSpPr>
          <p:grpSpPr>
            <a:xfrm>
              <a:off x="4638846" y="2461394"/>
              <a:ext cx="1110970" cy="1110970"/>
              <a:chOff x="4638846" y="2461394"/>
              <a:chExt cx="1110970" cy="1110970"/>
            </a:xfrm>
          </p:grpSpPr>
          <p:sp>
            <p:nvSpPr>
              <p:cNvPr id="43" name="Diamond 42">
                <a:extLst>
                  <a:ext uri="{FF2B5EF4-FFF2-40B4-BE49-F238E27FC236}">
                    <a16:creationId xmlns:a16="http://schemas.microsoft.com/office/drawing/2014/main" id="{145A9FA6-8837-452F-82B7-FE03CA8B4373}"/>
                  </a:ext>
                </a:extLst>
              </p:cNvPr>
              <p:cNvSpPr/>
              <p:nvPr/>
            </p:nvSpPr>
            <p:spPr bwMode="auto">
              <a:xfrm rot="16200000">
                <a:off x="46388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chemeClr val="tx1"/>
                  </a:solidFill>
                  <a:ea typeface="Segoe UI" pitchFamily="34" charset="0"/>
                  <a:cs typeface="Segoe UI" pitchFamily="34" charset="0"/>
                </a:endParaRPr>
              </a:p>
            </p:txBody>
          </p:sp>
          <p:sp>
            <p:nvSpPr>
              <p:cNvPr id="101" name="control_3" title="Icon of the play symbol">
                <a:extLst>
                  <a:ext uri="{FF2B5EF4-FFF2-40B4-BE49-F238E27FC236}">
                    <a16:creationId xmlns:a16="http://schemas.microsoft.com/office/drawing/2014/main" id="{19DC011B-02FD-4983-B95D-FC8E4686AF38}"/>
                  </a:ext>
                </a:extLst>
              </p:cNvPr>
              <p:cNvSpPr>
                <a:spLocks noChangeAspect="1"/>
              </p:cNvSpPr>
              <p:nvPr/>
            </p:nvSpPr>
            <p:spPr bwMode="auto">
              <a:xfrm>
                <a:off x="5126864" y="2832100"/>
                <a:ext cx="249234" cy="313894"/>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0" name="Group 109">
            <a:extLst>
              <a:ext uri="{FF2B5EF4-FFF2-40B4-BE49-F238E27FC236}">
                <a16:creationId xmlns:a16="http://schemas.microsoft.com/office/drawing/2014/main" id="{C1E80206-A46B-4AA3-AD4A-97260C82540A}"/>
              </a:ext>
            </a:extLst>
          </p:cNvPr>
          <p:cNvGrpSpPr/>
          <p:nvPr/>
        </p:nvGrpSpPr>
        <p:grpSpPr>
          <a:xfrm>
            <a:off x="6778687" y="2461394"/>
            <a:ext cx="2241488" cy="2724175"/>
            <a:chOff x="6778687" y="2461394"/>
            <a:chExt cx="2241488" cy="2724175"/>
          </a:xfrm>
        </p:grpSpPr>
        <p:sp>
          <p:nvSpPr>
            <p:cNvPr id="45" name="Rectangle 44">
              <a:extLst>
                <a:ext uri="{FF2B5EF4-FFF2-40B4-BE49-F238E27FC236}">
                  <a16:creationId xmlns:a16="http://schemas.microsoft.com/office/drawing/2014/main" id="{0BEB53E8-5E2F-4546-9F4C-732036A7C948}"/>
                </a:ext>
              </a:extLst>
            </p:cNvPr>
            <p:cNvSpPr/>
            <p:nvPr/>
          </p:nvSpPr>
          <p:spPr bwMode="auto">
            <a:xfrm>
              <a:off x="6778687" y="4093369"/>
              <a:ext cx="2241488"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tx1"/>
                  </a:solidFill>
                  <a:latin typeface="+mj-lt"/>
                  <a:ea typeface="Segoe UI" pitchFamily="34" charset="0"/>
                  <a:cs typeface="Segoe UI" pitchFamily="34" charset="0"/>
                </a:rPr>
                <a:t>Test the Task</a:t>
              </a:r>
            </a:p>
          </p:txBody>
        </p:sp>
        <p:grpSp>
          <p:nvGrpSpPr>
            <p:cNvPr id="109" name="Group 108">
              <a:extLst>
                <a:ext uri="{FF2B5EF4-FFF2-40B4-BE49-F238E27FC236}">
                  <a16:creationId xmlns:a16="http://schemas.microsoft.com/office/drawing/2014/main" id="{83B03C53-B0F2-4E4A-9A35-1E2A8EDA0932}"/>
                </a:ext>
              </a:extLst>
            </p:cNvPr>
            <p:cNvGrpSpPr/>
            <p:nvPr/>
          </p:nvGrpSpPr>
          <p:grpSpPr>
            <a:xfrm>
              <a:off x="7343946" y="2461394"/>
              <a:ext cx="1110970" cy="1110970"/>
              <a:chOff x="7343946" y="2461394"/>
              <a:chExt cx="1110970" cy="1110970"/>
            </a:xfrm>
          </p:grpSpPr>
          <p:sp>
            <p:nvSpPr>
              <p:cNvPr id="80" name="Diamond 79">
                <a:extLst>
                  <a:ext uri="{FF2B5EF4-FFF2-40B4-BE49-F238E27FC236}">
                    <a16:creationId xmlns:a16="http://schemas.microsoft.com/office/drawing/2014/main" id="{C265E05F-274C-4EAB-953B-FD92302CE873}"/>
                  </a:ext>
                </a:extLst>
              </p:cNvPr>
              <p:cNvSpPr/>
              <p:nvPr/>
            </p:nvSpPr>
            <p:spPr bwMode="auto">
              <a:xfrm rot="16200000">
                <a:off x="73439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chemeClr val="tx1"/>
                  </a:solidFill>
                  <a:ea typeface="Segoe UI" pitchFamily="34" charset="0"/>
                  <a:cs typeface="Segoe UI" pitchFamily="34" charset="0"/>
                </a:endParaRPr>
              </a:p>
            </p:txBody>
          </p:sp>
          <p:grpSp>
            <p:nvGrpSpPr>
              <p:cNvPr id="103" name="Group 102">
                <a:extLst>
                  <a:ext uri="{FF2B5EF4-FFF2-40B4-BE49-F238E27FC236}">
                    <a16:creationId xmlns:a16="http://schemas.microsoft.com/office/drawing/2014/main" id="{52212485-A6D4-44D0-A53A-DD204B510E45}"/>
                  </a:ext>
                </a:extLst>
              </p:cNvPr>
              <p:cNvGrpSpPr/>
              <p:nvPr/>
            </p:nvGrpSpPr>
            <p:grpSpPr>
              <a:xfrm>
                <a:off x="7693936" y="2774379"/>
                <a:ext cx="410990" cy="429336"/>
                <a:chOff x="-811355" y="1109679"/>
                <a:chExt cx="413686" cy="432152"/>
              </a:xfrm>
            </p:grpSpPr>
            <p:sp>
              <p:nvSpPr>
                <p:cNvPr id="104" name="arrow_11" title="Icon of a circle made of two curved arrows">
                  <a:extLst>
                    <a:ext uri="{FF2B5EF4-FFF2-40B4-BE49-F238E27FC236}">
                      <a16:creationId xmlns:a16="http://schemas.microsoft.com/office/drawing/2014/main" id="{FDEF035A-C69B-4ED3-94CA-C461942F6C47}"/>
                    </a:ext>
                  </a:extLst>
                </p:cNvPr>
                <p:cNvSpPr>
                  <a:spLocks noChangeAspect="1" noEditPoints="1"/>
                </p:cNvSpPr>
                <p:nvPr/>
              </p:nvSpPr>
              <p:spPr bwMode="auto">
                <a:xfrm>
                  <a:off x="-811355" y="1109679"/>
                  <a:ext cx="413686" cy="43215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p>
              </p:txBody>
            </p:sp>
            <p:grpSp>
              <p:nvGrpSpPr>
                <p:cNvPr id="105" name="Group 104">
                  <a:extLst>
                    <a:ext uri="{FF2B5EF4-FFF2-40B4-BE49-F238E27FC236}">
                      <a16:creationId xmlns:a16="http://schemas.microsoft.com/office/drawing/2014/main" id="{FDC4B57C-8919-4D9C-8AD2-F7331A582A04}"/>
                    </a:ext>
                  </a:extLst>
                </p:cNvPr>
                <p:cNvGrpSpPr/>
                <p:nvPr/>
              </p:nvGrpSpPr>
              <p:grpSpPr>
                <a:xfrm>
                  <a:off x="-695205" y="1229394"/>
                  <a:ext cx="181387" cy="192723"/>
                  <a:chOff x="-721409" y="1229504"/>
                  <a:chExt cx="181387" cy="192723"/>
                </a:xfrm>
              </p:grpSpPr>
              <p:sp>
                <p:nvSpPr>
                  <p:cNvPr id="106" name="Freeform: Shape 105">
                    <a:extLst>
                      <a:ext uri="{FF2B5EF4-FFF2-40B4-BE49-F238E27FC236}">
                        <a16:creationId xmlns:a16="http://schemas.microsoft.com/office/drawing/2014/main" id="{8471C38D-28BF-4879-B36C-1B063671FF9F}"/>
                      </a:ext>
                    </a:extLst>
                  </p:cNvPr>
                  <p:cNvSpPr/>
                  <p:nvPr/>
                </p:nvSpPr>
                <p:spPr>
                  <a:xfrm>
                    <a:off x="-678329" y="1277118"/>
                    <a:ext cx="102030" cy="102030"/>
                  </a:xfrm>
                  <a:custGeom>
                    <a:avLst/>
                    <a:gdLst>
                      <a:gd name="connsiteX0" fmla="*/ 79738 w 85725"/>
                      <a:gd name="connsiteY0" fmla="*/ 43543 h 85725"/>
                      <a:gd name="connsiteX1" fmla="*/ 43543 w 85725"/>
                      <a:gd name="connsiteY1" fmla="*/ 79738 h 85725"/>
                      <a:gd name="connsiteX2" fmla="*/ 7348 w 85725"/>
                      <a:gd name="connsiteY2" fmla="*/ 43543 h 85725"/>
                      <a:gd name="connsiteX3" fmla="*/ 43543 w 85725"/>
                      <a:gd name="connsiteY3" fmla="*/ 7348 h 85725"/>
                      <a:gd name="connsiteX4" fmla="*/ 79738 w 85725"/>
                      <a:gd name="connsiteY4" fmla="*/ 43543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79738" y="43543"/>
                        </a:moveTo>
                        <a:cubicBezTo>
                          <a:pt x="79738" y="63533"/>
                          <a:pt x="63533" y="79738"/>
                          <a:pt x="43543" y="79738"/>
                        </a:cubicBezTo>
                        <a:cubicBezTo>
                          <a:pt x="23553" y="79738"/>
                          <a:pt x="7348" y="63533"/>
                          <a:pt x="7348" y="43543"/>
                        </a:cubicBezTo>
                        <a:cubicBezTo>
                          <a:pt x="7348" y="23553"/>
                          <a:pt x="23553" y="7348"/>
                          <a:pt x="43543" y="7348"/>
                        </a:cubicBezTo>
                        <a:cubicBezTo>
                          <a:pt x="63533" y="7348"/>
                          <a:pt x="79738" y="23553"/>
                          <a:pt x="79738" y="4354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p>
                </p:txBody>
              </p:sp>
              <p:sp>
                <p:nvSpPr>
                  <p:cNvPr id="107" name="Freeform: Shape 106">
                    <a:extLst>
                      <a:ext uri="{FF2B5EF4-FFF2-40B4-BE49-F238E27FC236}">
                        <a16:creationId xmlns:a16="http://schemas.microsoft.com/office/drawing/2014/main" id="{51013274-6ECE-47C2-A588-BC6B64E2B974}"/>
                      </a:ext>
                    </a:extLst>
                  </p:cNvPr>
                  <p:cNvSpPr/>
                  <p:nvPr/>
                </p:nvSpPr>
                <p:spPr>
                  <a:xfrm>
                    <a:off x="-721409" y="1229504"/>
                    <a:ext cx="181387" cy="192723"/>
                  </a:xfrm>
                  <a:custGeom>
                    <a:avLst/>
                    <a:gdLst>
                      <a:gd name="connsiteX0" fmla="*/ 142603 w 152400"/>
                      <a:gd name="connsiteY0" fmla="*/ 83548 h 161925"/>
                      <a:gd name="connsiteX1" fmla="*/ 139745 w 152400"/>
                      <a:gd name="connsiteY1" fmla="*/ 64498 h 161925"/>
                      <a:gd name="connsiteX2" fmla="*/ 152128 w 152400"/>
                      <a:gd name="connsiteY2" fmla="*/ 56878 h 161925"/>
                      <a:gd name="connsiteX3" fmla="*/ 138793 w 152400"/>
                      <a:gd name="connsiteY3" fmla="*/ 34018 h 161925"/>
                      <a:gd name="connsiteX4" fmla="*/ 126411 w 152400"/>
                      <a:gd name="connsiteY4" fmla="*/ 41638 h 161925"/>
                      <a:gd name="connsiteX5" fmla="*/ 93073 w 152400"/>
                      <a:gd name="connsiteY5" fmla="*/ 21636 h 161925"/>
                      <a:gd name="connsiteX6" fmla="*/ 93073 w 152400"/>
                      <a:gd name="connsiteY6" fmla="*/ 7348 h 161925"/>
                      <a:gd name="connsiteX7" fmla="*/ 66403 w 152400"/>
                      <a:gd name="connsiteY7" fmla="*/ 7348 h 161925"/>
                      <a:gd name="connsiteX8" fmla="*/ 66403 w 152400"/>
                      <a:gd name="connsiteY8" fmla="*/ 21636 h 161925"/>
                      <a:gd name="connsiteX9" fmla="*/ 33066 w 152400"/>
                      <a:gd name="connsiteY9" fmla="*/ 41638 h 161925"/>
                      <a:gd name="connsiteX10" fmla="*/ 20683 w 152400"/>
                      <a:gd name="connsiteY10" fmla="*/ 34018 h 161925"/>
                      <a:gd name="connsiteX11" fmla="*/ 7348 w 152400"/>
                      <a:gd name="connsiteY11" fmla="*/ 56878 h 161925"/>
                      <a:gd name="connsiteX12" fmla="*/ 19730 w 152400"/>
                      <a:gd name="connsiteY12" fmla="*/ 64498 h 161925"/>
                      <a:gd name="connsiteX13" fmla="*/ 16873 w 152400"/>
                      <a:gd name="connsiteY13" fmla="*/ 83548 h 161925"/>
                      <a:gd name="connsiteX14" fmla="*/ 19730 w 152400"/>
                      <a:gd name="connsiteY14" fmla="*/ 102598 h 161925"/>
                      <a:gd name="connsiteX15" fmla="*/ 7348 w 152400"/>
                      <a:gd name="connsiteY15" fmla="*/ 110218 h 161925"/>
                      <a:gd name="connsiteX16" fmla="*/ 20683 w 152400"/>
                      <a:gd name="connsiteY16" fmla="*/ 133078 h 161925"/>
                      <a:gd name="connsiteX17" fmla="*/ 33066 w 152400"/>
                      <a:gd name="connsiteY17" fmla="*/ 125458 h 161925"/>
                      <a:gd name="connsiteX18" fmla="*/ 66403 w 152400"/>
                      <a:gd name="connsiteY18" fmla="*/ 145461 h 161925"/>
                      <a:gd name="connsiteX19" fmla="*/ 66403 w 152400"/>
                      <a:gd name="connsiteY19" fmla="*/ 159748 h 161925"/>
                      <a:gd name="connsiteX20" fmla="*/ 93073 w 152400"/>
                      <a:gd name="connsiteY20" fmla="*/ 159748 h 161925"/>
                      <a:gd name="connsiteX21" fmla="*/ 93073 w 152400"/>
                      <a:gd name="connsiteY21" fmla="*/ 145461 h 161925"/>
                      <a:gd name="connsiteX22" fmla="*/ 126411 w 152400"/>
                      <a:gd name="connsiteY22" fmla="*/ 125458 h 161925"/>
                      <a:gd name="connsiteX23" fmla="*/ 138793 w 152400"/>
                      <a:gd name="connsiteY23" fmla="*/ 133078 h 161925"/>
                      <a:gd name="connsiteX24" fmla="*/ 152128 w 152400"/>
                      <a:gd name="connsiteY24" fmla="*/ 110218 h 161925"/>
                      <a:gd name="connsiteX25" fmla="*/ 139745 w 152400"/>
                      <a:gd name="connsiteY25" fmla="*/ 102598 h 161925"/>
                      <a:gd name="connsiteX26" fmla="*/ 142603 w 152400"/>
                      <a:gd name="connsiteY26" fmla="*/ 8354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2400" h="161925">
                        <a:moveTo>
                          <a:pt x="142603" y="83548"/>
                        </a:moveTo>
                        <a:cubicBezTo>
                          <a:pt x="142603" y="76881"/>
                          <a:pt x="141650" y="70213"/>
                          <a:pt x="139745" y="64498"/>
                        </a:cubicBezTo>
                        <a:lnTo>
                          <a:pt x="152128" y="56878"/>
                        </a:lnTo>
                        <a:lnTo>
                          <a:pt x="138793" y="34018"/>
                        </a:lnTo>
                        <a:lnTo>
                          <a:pt x="126411" y="41638"/>
                        </a:lnTo>
                        <a:cubicBezTo>
                          <a:pt x="117838" y="32113"/>
                          <a:pt x="106408" y="24493"/>
                          <a:pt x="93073" y="21636"/>
                        </a:cubicBezTo>
                        <a:lnTo>
                          <a:pt x="93073" y="7348"/>
                        </a:lnTo>
                        <a:lnTo>
                          <a:pt x="66403" y="7348"/>
                        </a:lnTo>
                        <a:lnTo>
                          <a:pt x="66403" y="21636"/>
                        </a:lnTo>
                        <a:cubicBezTo>
                          <a:pt x="53068" y="24493"/>
                          <a:pt x="41638" y="31161"/>
                          <a:pt x="33066" y="41638"/>
                        </a:cubicBezTo>
                        <a:lnTo>
                          <a:pt x="20683" y="34018"/>
                        </a:lnTo>
                        <a:lnTo>
                          <a:pt x="7348" y="56878"/>
                        </a:lnTo>
                        <a:lnTo>
                          <a:pt x="19730" y="64498"/>
                        </a:lnTo>
                        <a:cubicBezTo>
                          <a:pt x="17825" y="70213"/>
                          <a:pt x="16873" y="76881"/>
                          <a:pt x="16873" y="83548"/>
                        </a:cubicBezTo>
                        <a:cubicBezTo>
                          <a:pt x="16873" y="90216"/>
                          <a:pt x="17825" y="96883"/>
                          <a:pt x="19730" y="102598"/>
                        </a:cubicBezTo>
                        <a:lnTo>
                          <a:pt x="7348" y="110218"/>
                        </a:lnTo>
                        <a:lnTo>
                          <a:pt x="20683" y="133078"/>
                        </a:lnTo>
                        <a:lnTo>
                          <a:pt x="33066" y="125458"/>
                        </a:lnTo>
                        <a:cubicBezTo>
                          <a:pt x="41638" y="134983"/>
                          <a:pt x="53068" y="142603"/>
                          <a:pt x="66403" y="145461"/>
                        </a:cubicBezTo>
                        <a:lnTo>
                          <a:pt x="66403" y="159748"/>
                        </a:lnTo>
                        <a:lnTo>
                          <a:pt x="93073" y="159748"/>
                        </a:lnTo>
                        <a:lnTo>
                          <a:pt x="93073" y="145461"/>
                        </a:lnTo>
                        <a:cubicBezTo>
                          <a:pt x="106408" y="142603"/>
                          <a:pt x="117838" y="135936"/>
                          <a:pt x="126411" y="125458"/>
                        </a:cubicBezTo>
                        <a:lnTo>
                          <a:pt x="138793" y="133078"/>
                        </a:lnTo>
                        <a:lnTo>
                          <a:pt x="152128" y="110218"/>
                        </a:lnTo>
                        <a:lnTo>
                          <a:pt x="139745" y="102598"/>
                        </a:lnTo>
                        <a:cubicBezTo>
                          <a:pt x="141650" y="96883"/>
                          <a:pt x="142603" y="90216"/>
                          <a:pt x="142603" y="8354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p>
                </p:txBody>
              </p:sp>
            </p:grpSp>
          </p:grpSp>
        </p:grpSp>
      </p:grpSp>
      <p:grpSp>
        <p:nvGrpSpPr>
          <p:cNvPr id="116" name="Group 115">
            <a:extLst>
              <a:ext uri="{FF2B5EF4-FFF2-40B4-BE49-F238E27FC236}">
                <a16:creationId xmlns:a16="http://schemas.microsoft.com/office/drawing/2014/main" id="{05E7283F-43E4-4F04-94C6-04093F4E0848}"/>
              </a:ext>
            </a:extLst>
          </p:cNvPr>
          <p:cNvGrpSpPr/>
          <p:nvPr/>
        </p:nvGrpSpPr>
        <p:grpSpPr>
          <a:xfrm>
            <a:off x="9613961" y="2461394"/>
            <a:ext cx="1981140" cy="2724175"/>
            <a:chOff x="9613961" y="2461394"/>
            <a:chExt cx="1981140" cy="2724175"/>
          </a:xfrm>
        </p:grpSpPr>
        <p:sp>
          <p:nvSpPr>
            <p:cNvPr id="82" name="Rectangle 81">
              <a:extLst>
                <a:ext uri="{FF2B5EF4-FFF2-40B4-BE49-F238E27FC236}">
                  <a16:creationId xmlns:a16="http://schemas.microsoft.com/office/drawing/2014/main" id="{E2221371-FE52-4EAA-9B16-0C117DE6A265}"/>
                </a:ext>
              </a:extLst>
            </p:cNvPr>
            <p:cNvSpPr/>
            <p:nvPr/>
          </p:nvSpPr>
          <p:spPr bwMode="auto">
            <a:xfrm>
              <a:off x="9613961" y="4093369"/>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tx1"/>
                  </a:solidFill>
                  <a:latin typeface="+mj-lt"/>
                  <a:ea typeface="Segoe UI" pitchFamily="34" charset="0"/>
                  <a:cs typeface="Segoe UI" pitchFamily="34" charset="0"/>
                </a:rPr>
                <a:t>Monitor the Task</a:t>
              </a:r>
            </a:p>
          </p:txBody>
        </p:sp>
        <p:grpSp>
          <p:nvGrpSpPr>
            <p:cNvPr id="115" name="Group 114">
              <a:extLst>
                <a:ext uri="{FF2B5EF4-FFF2-40B4-BE49-F238E27FC236}">
                  <a16:creationId xmlns:a16="http://schemas.microsoft.com/office/drawing/2014/main" id="{065537BD-2EE6-474C-9DF3-C3D3DA4EB2E1}"/>
                </a:ext>
              </a:extLst>
            </p:cNvPr>
            <p:cNvGrpSpPr/>
            <p:nvPr/>
          </p:nvGrpSpPr>
          <p:grpSpPr>
            <a:xfrm>
              <a:off x="10049046" y="2461394"/>
              <a:ext cx="1110970" cy="1110970"/>
              <a:chOff x="10049046" y="2461394"/>
              <a:chExt cx="1110970" cy="1110970"/>
            </a:xfrm>
          </p:grpSpPr>
          <p:sp>
            <p:nvSpPr>
              <p:cNvPr id="86" name="Diamond 85">
                <a:extLst>
                  <a:ext uri="{FF2B5EF4-FFF2-40B4-BE49-F238E27FC236}">
                    <a16:creationId xmlns:a16="http://schemas.microsoft.com/office/drawing/2014/main" id="{D343E14F-CEE6-49A6-9D51-D14D9E117B5C}"/>
                  </a:ext>
                </a:extLst>
              </p:cNvPr>
              <p:cNvSpPr/>
              <p:nvPr/>
            </p:nvSpPr>
            <p:spPr bwMode="auto">
              <a:xfrm rot="16200000">
                <a:off x="100490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chemeClr val="tx1"/>
                  </a:solidFill>
                  <a:ea typeface="Segoe UI" pitchFamily="34" charset="0"/>
                  <a:cs typeface="Segoe UI" pitchFamily="34" charset="0"/>
                </a:endParaRPr>
              </a:p>
            </p:txBody>
          </p:sp>
          <p:grpSp>
            <p:nvGrpSpPr>
              <p:cNvPr id="111" name="Graphic 30">
                <a:extLst>
                  <a:ext uri="{FF2B5EF4-FFF2-40B4-BE49-F238E27FC236}">
                    <a16:creationId xmlns:a16="http://schemas.microsoft.com/office/drawing/2014/main" id="{0A4870AD-4DCC-434E-81B6-293856A12D8A}"/>
                  </a:ext>
                </a:extLst>
              </p:cNvPr>
              <p:cNvGrpSpPr/>
              <p:nvPr/>
            </p:nvGrpSpPr>
            <p:grpSpPr>
              <a:xfrm>
                <a:off x="10401873" y="2797969"/>
                <a:ext cx="405316" cy="382156"/>
                <a:chOff x="6051549" y="3340099"/>
                <a:chExt cx="576719" cy="543764"/>
              </a:xfrm>
            </p:grpSpPr>
            <p:sp>
              <p:nvSpPr>
                <p:cNvPr id="112" name="Freeform: Shape 111">
                  <a:extLst>
                    <a:ext uri="{FF2B5EF4-FFF2-40B4-BE49-F238E27FC236}">
                      <a16:creationId xmlns:a16="http://schemas.microsoft.com/office/drawing/2014/main" id="{3B04FA83-2CC5-476A-9BE8-D61F346895D3}"/>
                    </a:ext>
                  </a:extLst>
                </p:cNvPr>
                <p:cNvSpPr/>
                <p:nvPr/>
              </p:nvSpPr>
              <p:spPr>
                <a:xfrm>
                  <a:off x="6062918" y="3348502"/>
                  <a:ext cx="479830" cy="521848"/>
                </a:xfrm>
                <a:custGeom>
                  <a:avLst/>
                  <a:gdLst>
                    <a:gd name="connsiteX0" fmla="*/ 351139 w 479830"/>
                    <a:gd name="connsiteY0" fmla="*/ 434352 h 521848"/>
                    <a:gd name="connsiteX1" fmla="*/ 283746 w 479830"/>
                    <a:gd name="connsiteY1" fmla="*/ 469285 h 521848"/>
                    <a:gd name="connsiteX2" fmla="*/ 283746 w 479830"/>
                    <a:gd name="connsiteY2" fmla="*/ 521849 h 521848"/>
                    <a:gd name="connsiteX3" fmla="*/ 189658 w 479830"/>
                    <a:gd name="connsiteY3" fmla="*/ 521849 h 521848"/>
                    <a:gd name="connsiteX4" fmla="*/ 189658 w 479830"/>
                    <a:gd name="connsiteY4" fmla="*/ 463023 h 521848"/>
                    <a:gd name="connsiteX5" fmla="*/ 89309 w 479830"/>
                    <a:gd name="connsiteY5" fmla="*/ 404198 h 521848"/>
                    <a:gd name="connsiteX6" fmla="*/ 43831 w 479830"/>
                    <a:gd name="connsiteY6" fmla="*/ 428091 h 521848"/>
                    <a:gd name="connsiteX7" fmla="*/ 0 w 479830"/>
                    <a:gd name="connsiteY7" fmla="*/ 340594 h 521848"/>
                    <a:gd name="connsiteX8" fmla="*/ 43831 w 479830"/>
                    <a:gd name="connsiteY8" fmla="*/ 316701 h 521848"/>
                    <a:gd name="connsiteX9" fmla="*/ 32791 w 479830"/>
                    <a:gd name="connsiteY9" fmla="*/ 257876 h 521848"/>
                    <a:gd name="connsiteX10" fmla="*/ 43831 w 479830"/>
                    <a:gd name="connsiteY10" fmla="*/ 199051 h 521848"/>
                    <a:gd name="connsiteX11" fmla="*/ 0 w 479830"/>
                    <a:gd name="connsiteY11" fmla="*/ 176806 h 521848"/>
                    <a:gd name="connsiteX12" fmla="*/ 43831 w 479830"/>
                    <a:gd name="connsiteY12" fmla="*/ 87661 h 521848"/>
                    <a:gd name="connsiteX13" fmla="*/ 89309 w 479830"/>
                    <a:gd name="connsiteY13" fmla="*/ 111554 h 521848"/>
                    <a:gd name="connsiteX14" fmla="*/ 189658 w 479830"/>
                    <a:gd name="connsiteY14" fmla="*/ 52564 h 521848"/>
                    <a:gd name="connsiteX15" fmla="*/ 189658 w 479830"/>
                    <a:gd name="connsiteY15" fmla="*/ 0 h 521848"/>
                    <a:gd name="connsiteX16" fmla="*/ 283746 w 479830"/>
                    <a:gd name="connsiteY16" fmla="*/ 0 h 521848"/>
                    <a:gd name="connsiteX17" fmla="*/ 283746 w 479830"/>
                    <a:gd name="connsiteY17" fmla="*/ 47785 h 521848"/>
                    <a:gd name="connsiteX18" fmla="*/ 390356 w 479830"/>
                    <a:gd name="connsiteY18" fmla="*/ 111389 h 521848"/>
                    <a:gd name="connsiteX19" fmla="*/ 429573 w 479830"/>
                    <a:gd name="connsiteY19" fmla="*/ 87497 h 521848"/>
                    <a:gd name="connsiteX20" fmla="*/ 479830 w 479830"/>
                    <a:gd name="connsiteY20" fmla="*/ 176641 h 521848"/>
                    <a:gd name="connsiteX21" fmla="*/ 434352 w 479830"/>
                    <a:gd name="connsiteY21" fmla="*/ 198886 h 521848"/>
                    <a:gd name="connsiteX22" fmla="*/ 442261 w 479830"/>
                    <a:gd name="connsiteY22" fmla="*/ 257711 h 521848"/>
                    <a:gd name="connsiteX23" fmla="*/ 437483 w 479830"/>
                    <a:gd name="connsiteY23" fmla="*/ 299070 h 521848"/>
                    <a:gd name="connsiteX24" fmla="*/ 291655 w 479830"/>
                    <a:gd name="connsiteY24" fmla="*/ 159175 h 521848"/>
                    <a:gd name="connsiteX25" fmla="*/ 235137 w 479830"/>
                    <a:gd name="connsiteY25" fmla="*/ 141708 h 521848"/>
                    <a:gd name="connsiteX26" fmla="*/ 117486 w 479830"/>
                    <a:gd name="connsiteY26" fmla="*/ 264138 h 521848"/>
                    <a:gd name="connsiteX27" fmla="*/ 167743 w 479830"/>
                    <a:gd name="connsiteY27" fmla="*/ 367617 h 52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9830" h="521848">
                      <a:moveTo>
                        <a:pt x="351139" y="434352"/>
                      </a:moveTo>
                      <a:cubicBezTo>
                        <a:pt x="333838" y="451818"/>
                        <a:pt x="305661" y="463023"/>
                        <a:pt x="283746" y="469285"/>
                      </a:cubicBezTo>
                      <a:cubicBezTo>
                        <a:pt x="283746" y="469285"/>
                        <a:pt x="283746" y="469285"/>
                        <a:pt x="283746" y="521849"/>
                      </a:cubicBezTo>
                      <a:cubicBezTo>
                        <a:pt x="283746" y="521849"/>
                        <a:pt x="283746" y="521849"/>
                        <a:pt x="189658" y="521849"/>
                      </a:cubicBezTo>
                      <a:cubicBezTo>
                        <a:pt x="189658" y="521849"/>
                        <a:pt x="189658" y="521849"/>
                        <a:pt x="189658" y="463023"/>
                      </a:cubicBezTo>
                      <a:cubicBezTo>
                        <a:pt x="150441" y="456597"/>
                        <a:pt x="117486" y="434352"/>
                        <a:pt x="89309" y="404198"/>
                      </a:cubicBezTo>
                      <a:cubicBezTo>
                        <a:pt x="89309" y="404198"/>
                        <a:pt x="89309" y="404198"/>
                        <a:pt x="43831" y="428091"/>
                      </a:cubicBezTo>
                      <a:cubicBezTo>
                        <a:pt x="43831" y="428091"/>
                        <a:pt x="43831" y="428091"/>
                        <a:pt x="0" y="340594"/>
                      </a:cubicBezTo>
                      <a:cubicBezTo>
                        <a:pt x="0" y="340594"/>
                        <a:pt x="0" y="340594"/>
                        <a:pt x="43831" y="316701"/>
                      </a:cubicBezTo>
                      <a:cubicBezTo>
                        <a:pt x="39052" y="299235"/>
                        <a:pt x="32791" y="281769"/>
                        <a:pt x="32791" y="257876"/>
                      </a:cubicBezTo>
                      <a:cubicBezTo>
                        <a:pt x="32791" y="240410"/>
                        <a:pt x="39052" y="216517"/>
                        <a:pt x="43831" y="199051"/>
                      </a:cubicBezTo>
                      <a:cubicBezTo>
                        <a:pt x="43831" y="199051"/>
                        <a:pt x="43831" y="199051"/>
                        <a:pt x="0" y="176806"/>
                      </a:cubicBezTo>
                      <a:cubicBezTo>
                        <a:pt x="0" y="176806"/>
                        <a:pt x="0" y="176806"/>
                        <a:pt x="43831" y="87661"/>
                      </a:cubicBezTo>
                      <a:cubicBezTo>
                        <a:pt x="43831" y="87661"/>
                        <a:pt x="43831" y="87661"/>
                        <a:pt x="89309" y="111554"/>
                      </a:cubicBezTo>
                      <a:cubicBezTo>
                        <a:pt x="117486" y="82883"/>
                        <a:pt x="150441" y="58990"/>
                        <a:pt x="189658" y="52564"/>
                      </a:cubicBezTo>
                      <a:cubicBezTo>
                        <a:pt x="189658" y="52564"/>
                        <a:pt x="189658" y="52564"/>
                        <a:pt x="189658" y="0"/>
                      </a:cubicBezTo>
                      <a:cubicBezTo>
                        <a:pt x="189658" y="0"/>
                        <a:pt x="189658" y="0"/>
                        <a:pt x="283746" y="0"/>
                      </a:cubicBezTo>
                      <a:cubicBezTo>
                        <a:pt x="283746" y="0"/>
                        <a:pt x="283746" y="0"/>
                        <a:pt x="283746" y="47785"/>
                      </a:cubicBezTo>
                      <a:cubicBezTo>
                        <a:pt x="322963" y="58990"/>
                        <a:pt x="362180" y="82718"/>
                        <a:pt x="390356" y="111389"/>
                      </a:cubicBezTo>
                      <a:cubicBezTo>
                        <a:pt x="390356" y="111389"/>
                        <a:pt x="390356" y="111389"/>
                        <a:pt x="429573" y="87497"/>
                      </a:cubicBezTo>
                      <a:cubicBezTo>
                        <a:pt x="429573" y="87497"/>
                        <a:pt x="429573" y="87497"/>
                        <a:pt x="479830" y="176641"/>
                      </a:cubicBezTo>
                      <a:cubicBezTo>
                        <a:pt x="479830" y="176641"/>
                        <a:pt x="479830" y="176641"/>
                        <a:pt x="434352" y="198886"/>
                      </a:cubicBezTo>
                      <a:cubicBezTo>
                        <a:pt x="440613" y="216352"/>
                        <a:pt x="442261" y="238597"/>
                        <a:pt x="442261" y="257711"/>
                      </a:cubicBezTo>
                      <a:cubicBezTo>
                        <a:pt x="442261" y="268916"/>
                        <a:pt x="442261" y="283087"/>
                        <a:pt x="437483" y="299070"/>
                      </a:cubicBezTo>
                      <a:moveTo>
                        <a:pt x="291655" y="159175"/>
                      </a:moveTo>
                      <a:cubicBezTo>
                        <a:pt x="276001" y="147970"/>
                        <a:pt x="258700" y="141708"/>
                        <a:pt x="235137" y="141708"/>
                      </a:cubicBezTo>
                      <a:cubicBezTo>
                        <a:pt x="167743" y="141708"/>
                        <a:pt x="117486" y="200534"/>
                        <a:pt x="117486" y="264138"/>
                      </a:cubicBezTo>
                      <a:cubicBezTo>
                        <a:pt x="117486" y="310275"/>
                        <a:pt x="133140" y="345208"/>
                        <a:pt x="167743" y="36761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3" name="Freeform: Shape 112">
                  <a:extLst>
                    <a:ext uri="{FF2B5EF4-FFF2-40B4-BE49-F238E27FC236}">
                      <a16:creationId xmlns:a16="http://schemas.microsoft.com/office/drawing/2014/main" id="{EEBE2DFA-92DA-4E81-B599-04A3213F9162}"/>
                    </a:ext>
                  </a:extLst>
                </p:cNvPr>
                <p:cNvSpPr/>
                <p:nvPr/>
              </p:nvSpPr>
              <p:spPr>
                <a:xfrm>
                  <a:off x="6267675" y="3567293"/>
                  <a:ext cx="347913" cy="268692"/>
                </a:xfrm>
                <a:custGeom>
                  <a:avLst/>
                  <a:gdLst>
                    <a:gd name="connsiteX0" fmla="*/ 122985 w 347913"/>
                    <a:gd name="connsiteY0" fmla="*/ 159867 h 268692"/>
                    <a:gd name="connsiteX1" fmla="*/ 281335 w 347913"/>
                    <a:gd name="connsiteY1" fmla="*/ 261699 h 268692"/>
                    <a:gd name="connsiteX2" fmla="*/ 340985 w 347913"/>
                    <a:gd name="connsiteY2" fmla="*/ 249011 h 268692"/>
                    <a:gd name="connsiteX3" fmla="*/ 328461 w 347913"/>
                    <a:gd name="connsiteY3" fmla="*/ 188538 h 268692"/>
                    <a:gd name="connsiteX4" fmla="*/ 166980 w 347913"/>
                    <a:gd name="connsiteY4" fmla="*/ 91484 h 268692"/>
                    <a:gd name="connsiteX5" fmla="*/ 163849 w 347913"/>
                    <a:gd name="connsiteY5" fmla="*/ 89836 h 268692"/>
                    <a:gd name="connsiteX6" fmla="*/ 162202 w 347913"/>
                    <a:gd name="connsiteY6" fmla="*/ 65944 h 268692"/>
                    <a:gd name="connsiteX7" fmla="*/ 64983 w 347913"/>
                    <a:gd name="connsiteY7" fmla="*/ 2340 h 268692"/>
                    <a:gd name="connsiteX8" fmla="*/ 22636 w 347913"/>
                    <a:gd name="connsiteY8" fmla="*/ 24585 h 268692"/>
                    <a:gd name="connsiteX9" fmla="*/ 99422 w 347913"/>
                    <a:gd name="connsiteY9" fmla="*/ 72370 h 268692"/>
                    <a:gd name="connsiteX10" fmla="*/ 80637 w 347913"/>
                    <a:gd name="connsiteY10" fmla="*/ 97746 h 268692"/>
                    <a:gd name="connsiteX11" fmla="*/ 6982 w 347913"/>
                    <a:gd name="connsiteY11" fmla="*/ 49960 h 268692"/>
                    <a:gd name="connsiteX12" fmla="*/ 2203 w 347913"/>
                    <a:gd name="connsiteY12" fmla="*/ 100876 h 268692"/>
                    <a:gd name="connsiteX13" fmla="*/ 99422 w 347913"/>
                    <a:gd name="connsiteY13" fmla="*/ 164480 h 268692"/>
                    <a:gd name="connsiteX14" fmla="*/ 119854 w 347913"/>
                    <a:gd name="connsiteY14" fmla="*/ 158054 h 268692"/>
                    <a:gd name="connsiteX15" fmla="*/ 122985 w 347913"/>
                    <a:gd name="connsiteY15" fmla="*/ 159867 h 268692"/>
                    <a:gd name="connsiteX16" fmla="*/ 122985 w 347913"/>
                    <a:gd name="connsiteY16" fmla="*/ 159867 h 268692"/>
                    <a:gd name="connsiteX17" fmla="*/ 122985 w 347913"/>
                    <a:gd name="connsiteY17" fmla="*/ 159867 h 26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913" h="268692">
                      <a:moveTo>
                        <a:pt x="122985" y="159867"/>
                      </a:moveTo>
                      <a:cubicBezTo>
                        <a:pt x="281335" y="261699"/>
                        <a:pt x="281335" y="261699"/>
                        <a:pt x="281335" y="261699"/>
                      </a:cubicBezTo>
                      <a:cubicBezTo>
                        <a:pt x="301768" y="274387"/>
                        <a:pt x="328461" y="269608"/>
                        <a:pt x="340985" y="249011"/>
                      </a:cubicBezTo>
                      <a:cubicBezTo>
                        <a:pt x="353508" y="229897"/>
                        <a:pt x="348894" y="202873"/>
                        <a:pt x="328461" y="188538"/>
                      </a:cubicBezTo>
                      <a:cubicBezTo>
                        <a:pt x="166980" y="91484"/>
                        <a:pt x="166980" y="91484"/>
                        <a:pt x="166980" y="91484"/>
                      </a:cubicBezTo>
                      <a:cubicBezTo>
                        <a:pt x="163849" y="89836"/>
                        <a:pt x="163849" y="89836"/>
                        <a:pt x="163849" y="89836"/>
                      </a:cubicBezTo>
                      <a:cubicBezTo>
                        <a:pt x="165497" y="81927"/>
                        <a:pt x="163849" y="73853"/>
                        <a:pt x="162202" y="65944"/>
                      </a:cubicBezTo>
                      <a:cubicBezTo>
                        <a:pt x="152809" y="21454"/>
                        <a:pt x="108814" y="-8865"/>
                        <a:pt x="64983" y="2340"/>
                      </a:cubicBezTo>
                      <a:cubicBezTo>
                        <a:pt x="49329" y="5471"/>
                        <a:pt x="33676" y="13545"/>
                        <a:pt x="22636" y="24585"/>
                      </a:cubicBezTo>
                      <a:cubicBezTo>
                        <a:pt x="99422" y="72370"/>
                        <a:pt x="99422" y="72370"/>
                        <a:pt x="99422" y="72370"/>
                      </a:cubicBezTo>
                      <a:cubicBezTo>
                        <a:pt x="80637" y="97746"/>
                        <a:pt x="80637" y="97746"/>
                        <a:pt x="80637" y="97746"/>
                      </a:cubicBezTo>
                      <a:cubicBezTo>
                        <a:pt x="6982" y="49960"/>
                        <a:pt x="6982" y="49960"/>
                        <a:pt x="6982" y="49960"/>
                      </a:cubicBezTo>
                      <a:cubicBezTo>
                        <a:pt x="720" y="65944"/>
                        <a:pt x="-2410" y="83410"/>
                        <a:pt x="2203" y="100876"/>
                      </a:cubicBezTo>
                      <a:cubicBezTo>
                        <a:pt x="11596" y="145366"/>
                        <a:pt x="53943" y="174037"/>
                        <a:pt x="99422" y="164480"/>
                      </a:cubicBezTo>
                      <a:cubicBezTo>
                        <a:pt x="105683" y="162833"/>
                        <a:pt x="113592" y="161350"/>
                        <a:pt x="119854" y="158054"/>
                      </a:cubicBezTo>
                      <a:lnTo>
                        <a:pt x="122985" y="159867"/>
                      </a:lnTo>
                      <a:lnTo>
                        <a:pt x="122985" y="159867"/>
                      </a:lnTo>
                      <a:lnTo>
                        <a:pt x="122985" y="159867"/>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sp>
        <p:nvSpPr>
          <p:cNvPr id="2" name="Title 1">
            <a:extLst>
              <a:ext uri="{FF2B5EF4-FFF2-40B4-BE49-F238E27FC236}">
                <a16:creationId xmlns:a16="http://schemas.microsoft.com/office/drawing/2014/main" id="{8CC20494-D614-4407-9231-83B41A6379AD}"/>
              </a:ext>
            </a:extLst>
          </p:cNvPr>
          <p:cNvSpPr>
            <a:spLocks noGrp="1"/>
          </p:cNvSpPr>
          <p:nvPr>
            <p:ph type="title"/>
          </p:nvPr>
        </p:nvSpPr>
        <p:spPr/>
        <p:txBody>
          <a:bodyPr/>
          <a:lstStyle/>
          <a:p>
            <a:endParaRPr lang="nl-NL"/>
          </a:p>
        </p:txBody>
      </p:sp>
      <p:sp>
        <p:nvSpPr>
          <p:cNvPr id="3" name="Content Placeholder 2">
            <a:extLst>
              <a:ext uri="{FF2B5EF4-FFF2-40B4-BE49-F238E27FC236}">
                <a16:creationId xmlns:a16="http://schemas.microsoft.com/office/drawing/2014/main" id="{3DC84C1D-6BCD-4DB4-B464-17BFBEBBC650}"/>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310302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42" presetClass="path" presetSubtype="0" decel="100000" fill="hold" nodeType="withEffect">
                                  <p:stCondLst>
                                    <p:cond delay="0"/>
                                  </p:stCondLst>
                                  <p:childTnLst>
                                    <p:animMotion origin="layout" path="M 1.04167E-6 2.22222E-6 L 1.04167E-6 0.03541 " pathEditMode="relative" rAng="0" ptsTypes="AA">
                                      <p:cBhvr>
                                        <p:cTn id="9" dur="700" spd="-100000" fill="hold"/>
                                        <p:tgtEl>
                                          <p:spTgt spid="102"/>
                                        </p:tgtEl>
                                        <p:attrNameLst>
                                          <p:attrName>ppt_x</p:attrName>
                                          <p:attrName>ppt_y</p:attrName>
                                        </p:attrNameLst>
                                      </p:cBhvr>
                                      <p:rCtr x="0" y="1782"/>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nodeType="withEffect">
                                  <p:stCondLst>
                                    <p:cond delay="250"/>
                                  </p:stCondLst>
                                  <p:childTnLst>
                                    <p:set>
                                      <p:cBhvr>
                                        <p:cTn id="15" dur="1" fill="hold">
                                          <p:stCondLst>
                                            <p:cond delay="0"/>
                                          </p:stCondLst>
                                        </p:cTn>
                                        <p:tgtEl>
                                          <p:spTgt spid="110"/>
                                        </p:tgtEl>
                                        <p:attrNameLst>
                                          <p:attrName>style.visibility</p:attrName>
                                        </p:attrNameLst>
                                      </p:cBhvr>
                                      <p:to>
                                        <p:strVal val="visible"/>
                                      </p:to>
                                    </p:set>
                                    <p:animEffect transition="in" filter="fade">
                                      <p:cBhvr>
                                        <p:cTn id="16" dur="500"/>
                                        <p:tgtEl>
                                          <p:spTgt spid="110"/>
                                        </p:tgtEl>
                                      </p:cBhvr>
                                    </p:animEffect>
                                  </p:childTnLst>
                                </p:cTn>
                              </p:par>
                              <p:par>
                                <p:cTn id="17" presetID="42" presetClass="path" presetSubtype="0" decel="100000" fill="hold" nodeType="withEffect">
                                  <p:stCondLst>
                                    <p:cond delay="0"/>
                                  </p:stCondLst>
                                  <p:childTnLst>
                                    <p:animMotion origin="layout" path="M 1.04167E-6 2.22222E-6 L 1.04167E-6 0.03541 " pathEditMode="relative" rAng="0" ptsTypes="AA">
                                      <p:cBhvr>
                                        <p:cTn id="18" dur="700" spd="-100000" fill="hold"/>
                                        <p:tgtEl>
                                          <p:spTgt spid="110"/>
                                        </p:tgtEl>
                                        <p:attrNameLst>
                                          <p:attrName>ppt_x</p:attrName>
                                          <p:attrName>ppt_y</p:attrName>
                                        </p:attrNameLst>
                                      </p:cBhvr>
                                      <p:rCtr x="0" y="1782"/>
                                    </p:animMotion>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nodeType="withEffect">
                                  <p:stCondLst>
                                    <p:cond delay="250"/>
                                  </p:stCondLst>
                                  <p:childTnLst>
                                    <p:set>
                                      <p:cBhvr>
                                        <p:cTn id="24" dur="1" fill="hold">
                                          <p:stCondLst>
                                            <p:cond delay="0"/>
                                          </p:stCondLst>
                                        </p:cTn>
                                        <p:tgtEl>
                                          <p:spTgt spid="116"/>
                                        </p:tgtEl>
                                        <p:attrNameLst>
                                          <p:attrName>style.visibility</p:attrName>
                                        </p:attrNameLst>
                                      </p:cBhvr>
                                      <p:to>
                                        <p:strVal val="visible"/>
                                      </p:to>
                                    </p:set>
                                    <p:animEffect transition="in" filter="fade">
                                      <p:cBhvr>
                                        <p:cTn id="25" dur="500"/>
                                        <p:tgtEl>
                                          <p:spTgt spid="116"/>
                                        </p:tgtEl>
                                      </p:cBhvr>
                                    </p:animEffect>
                                  </p:childTnLst>
                                </p:cTn>
                              </p:par>
                              <p:par>
                                <p:cTn id="26" presetID="42" presetClass="path" presetSubtype="0" decel="100000" fill="hold" nodeType="withEffect">
                                  <p:stCondLst>
                                    <p:cond delay="0"/>
                                  </p:stCondLst>
                                  <p:childTnLst>
                                    <p:animMotion origin="layout" path="M 1.04167E-6 2.22222E-6 L 1.04167E-6 0.03541 " pathEditMode="relative" rAng="0" ptsTypes="AA">
                                      <p:cBhvr>
                                        <p:cTn id="27" dur="700" spd="-100000" fill="hold"/>
                                        <p:tgtEl>
                                          <p:spTgt spid="116"/>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0449F1-79AA-4943-9639-7DCA7258DA0E}"/>
              </a:ext>
            </a:extLst>
          </p:cNvPr>
          <p:cNvSpPr>
            <a:spLocks noGrp="1"/>
          </p:cNvSpPr>
          <p:nvPr>
            <p:ph type="title"/>
          </p:nvPr>
        </p:nvSpPr>
        <p:spPr/>
        <p:txBody>
          <a:bodyPr>
            <a:normAutofit/>
          </a:bodyPr>
          <a:lstStyle/>
          <a:p>
            <a:r>
              <a:rPr lang="en-US"/>
              <a:t>Power Automate With Attended and Unattended RPA</a:t>
            </a:r>
            <a:endParaRPr lang="en-IN"/>
          </a:p>
        </p:txBody>
      </p:sp>
      <p:sp>
        <p:nvSpPr>
          <p:cNvPr id="2" name="Content Placeholder 1">
            <a:extLst>
              <a:ext uri="{FF2B5EF4-FFF2-40B4-BE49-F238E27FC236}">
                <a16:creationId xmlns:a16="http://schemas.microsoft.com/office/drawing/2014/main" id="{F28799E9-D327-4005-B42A-D1F4F1073AA3}"/>
              </a:ext>
            </a:extLst>
          </p:cNvPr>
          <p:cNvSpPr>
            <a:spLocks noGrp="1"/>
          </p:cNvSpPr>
          <p:nvPr>
            <p:ph idx="1"/>
          </p:nvPr>
        </p:nvSpPr>
        <p:spPr/>
        <p:txBody>
          <a:bodyPr/>
          <a:lstStyle/>
          <a:p>
            <a:endParaRPr lang="nl-NL"/>
          </a:p>
        </p:txBody>
      </p:sp>
      <p:graphicFrame>
        <p:nvGraphicFramePr>
          <p:cNvPr id="18" name="Table 17">
            <a:extLst>
              <a:ext uri="{FF2B5EF4-FFF2-40B4-BE49-F238E27FC236}">
                <a16:creationId xmlns:a16="http://schemas.microsoft.com/office/drawing/2014/main" id="{332EFBA4-C2A1-4D78-9057-C88D9A459DC9}"/>
              </a:ext>
            </a:extLst>
          </p:cNvPr>
          <p:cNvGraphicFramePr>
            <a:graphicFrameLocks noGrp="1"/>
          </p:cNvGraphicFramePr>
          <p:nvPr/>
        </p:nvGraphicFramePr>
        <p:xfrm>
          <a:off x="584200" y="3606864"/>
          <a:ext cx="11025188" cy="2954276"/>
        </p:xfrm>
        <a:graphic>
          <a:graphicData uri="http://schemas.openxmlformats.org/drawingml/2006/table">
            <a:tbl>
              <a:tblPr bandRow="1">
                <a:tableStyleId>{2D5ABB26-0587-4C30-8999-92F81FD0307C}</a:tableStyleId>
              </a:tblPr>
              <a:tblGrid>
                <a:gridCol w="1739900">
                  <a:extLst>
                    <a:ext uri="{9D8B030D-6E8A-4147-A177-3AD203B41FA5}">
                      <a16:colId xmlns:a16="http://schemas.microsoft.com/office/drawing/2014/main" val="669928345"/>
                    </a:ext>
                  </a:extLst>
                </a:gridCol>
                <a:gridCol w="4642644">
                  <a:extLst>
                    <a:ext uri="{9D8B030D-6E8A-4147-A177-3AD203B41FA5}">
                      <a16:colId xmlns:a16="http://schemas.microsoft.com/office/drawing/2014/main" val="196298131"/>
                    </a:ext>
                  </a:extLst>
                </a:gridCol>
                <a:gridCol w="4642644">
                  <a:extLst>
                    <a:ext uri="{9D8B030D-6E8A-4147-A177-3AD203B41FA5}">
                      <a16:colId xmlns:a16="http://schemas.microsoft.com/office/drawing/2014/main" val="4033348208"/>
                    </a:ext>
                  </a:extLst>
                </a:gridCol>
              </a:tblGrid>
              <a:tr h="738569">
                <a:tc>
                  <a:txBody>
                    <a:bodyPr/>
                    <a:lstStyle/>
                    <a:p>
                      <a:pPr algn="l"/>
                      <a:r>
                        <a:rPr lang="en-US" sz="1800">
                          <a:solidFill>
                            <a:schemeClr val="tx1"/>
                          </a:solidFill>
                          <a:latin typeface="+mj-lt"/>
                        </a:rPr>
                        <a:t>Overview</a:t>
                      </a:r>
                      <a:endParaRPr lang="en-US" sz="1800" b="1">
                        <a:solidFill>
                          <a:schemeClr val="tx1"/>
                        </a:solidFill>
                        <a:latin typeface="+mj-lt"/>
                        <a:cs typeface="Segoe UI Light" panose="020B0502040204020203" pitchFamily="34" charset="0"/>
                      </a:endParaRPr>
                    </a:p>
                  </a:txBody>
                  <a:tcPr anchor="ctr">
                    <a:lnL w="6350" cap="flat" cmpd="sng" algn="ctr">
                      <a:solidFill>
                        <a:schemeClr val="tx1"/>
                      </a:solidFill>
                      <a:prstDash val="solid"/>
                      <a:round/>
                      <a:headEnd type="none" w="med" len="med"/>
                      <a:tailEnd type="none" w="med" len="med"/>
                    </a:lnL>
                    <a:lnR w="3175" cap="flat" cmpd="sng" algn="ctr">
                      <a:noFill/>
                      <a:prstDash val="lgDash"/>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lumOff val="15000"/>
                        <a:alpha val="65000"/>
                      </a:schemeClr>
                    </a:solidFill>
                  </a:tcPr>
                </a:tc>
                <a:tc>
                  <a:txBody>
                    <a:bodyPr/>
                    <a:lstStyle/>
                    <a:p>
                      <a:pPr marL="0" marR="0" lvl="0" indent="0" algn="l" rtl="0" eaLnBrk="1" fontAlgn="auto" latinLnBrk="0" hangingPunct="1">
                        <a:lnSpc>
                          <a:spcPct val="100000"/>
                        </a:lnSpc>
                        <a:spcBef>
                          <a:spcPts val="0"/>
                        </a:spcBef>
                        <a:spcAft>
                          <a:spcPts val="0"/>
                        </a:spcAft>
                        <a:buFontTx/>
                        <a:buNone/>
                      </a:pPr>
                      <a:r>
                        <a:rPr lang="en-US" sz="1800">
                          <a:solidFill>
                            <a:schemeClr val="tx1"/>
                          </a:solidFill>
                          <a:latin typeface="+mn-lt"/>
                        </a:rPr>
                        <a:t>Drive efficiencies and automate manual, individual tasks across desktop and web </a:t>
                      </a:r>
                      <a:endParaRPr lang="en-US" sz="1800">
                        <a:solidFill>
                          <a:schemeClr val="tx1"/>
                        </a:solidFill>
                        <a:highlight>
                          <a:srgbClr val="FFFF00"/>
                        </a:highlight>
                        <a:latin typeface="+mn-lt"/>
                      </a:endParaRPr>
                    </a:p>
                  </a:txBody>
                  <a:tcPr anchor="ctr">
                    <a:lnL w="3175" cap="flat" cmpd="sng" algn="ctr">
                      <a:noFill/>
                      <a:prstDash val="lgDash"/>
                      <a:round/>
                      <a:headEnd type="none" w="med" len="med"/>
                      <a:tailEnd type="none" w="med" len="med"/>
                    </a:lnL>
                    <a:lnR w="3175" cap="flat" cmpd="sng" algn="ctr">
                      <a:solidFill>
                        <a:schemeClr val="bg1">
                          <a:lumMod val="75000"/>
                          <a:lumOff val="25000"/>
                        </a:schemeClr>
                      </a:solidFill>
                      <a:prstDash val="lgDash"/>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FontTx/>
                        <a:buNone/>
                      </a:pPr>
                      <a:r>
                        <a:rPr lang="en-US" sz="1800" kern="1200">
                          <a:solidFill>
                            <a:schemeClr val="tx1"/>
                          </a:solidFill>
                          <a:latin typeface="+mn-lt"/>
                        </a:rPr>
                        <a:t>Accelerate the automation of high-volume and tedious tasks without lifting a finger </a:t>
                      </a:r>
                      <a:endParaRPr lang="en-US" sz="1800" kern="1200">
                        <a:solidFill>
                          <a:schemeClr val="tx1"/>
                        </a:solidFill>
                        <a:latin typeface="+mn-lt"/>
                        <a:ea typeface="+mn-ea"/>
                        <a:cs typeface="Segoe UI Light" panose="020B0502040204020203" pitchFamily="34" charset="0"/>
                      </a:endParaRPr>
                    </a:p>
                  </a:txBody>
                  <a:tcPr anchor="ctr">
                    <a:lnL w="3175" cap="flat" cmpd="sng" algn="ctr">
                      <a:solidFill>
                        <a:schemeClr val="bg1">
                          <a:lumMod val="75000"/>
                          <a:lumOff val="25000"/>
                        </a:schemeClr>
                      </a:solidFill>
                      <a:prstDash val="lg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800053"/>
                  </a:ext>
                </a:extLst>
              </a:tr>
              <a:tr h="738569">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a:r>
                        <a:rPr lang="en-US" sz="1800">
                          <a:solidFill>
                            <a:schemeClr val="tx1"/>
                          </a:solidFill>
                          <a:latin typeface="+mj-lt"/>
                        </a:rPr>
                        <a:t>Scenario</a:t>
                      </a:r>
                      <a:endParaRPr lang="en-US" sz="1800" b="1">
                        <a:solidFill>
                          <a:schemeClr val="tx1"/>
                        </a:solidFill>
                        <a:latin typeface="+mj-lt"/>
                        <a:cs typeface="Segoe UI Light" panose="020B0502040204020203" pitchFamily="34" charset="0"/>
                      </a:endParaRPr>
                    </a:p>
                  </a:txBody>
                  <a:tcPr anchor="ctr">
                    <a:lnL w="6350" cap="flat" cmpd="sng" algn="ctr">
                      <a:solidFill>
                        <a:schemeClr val="tx1"/>
                      </a:solidFill>
                      <a:prstDash val="solid"/>
                      <a:round/>
                      <a:headEnd type="none" w="med" len="med"/>
                      <a:tailEnd type="none" w="med" len="med"/>
                    </a:lnL>
                    <a:lnR w="3175" cap="flat" cmpd="sng" algn="ctr">
                      <a:noFill/>
                      <a:prstDash val="lgDash"/>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lumOff val="15000"/>
                        <a:alpha val="6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a:r>
                        <a:rPr lang="en-US" sz="1800">
                          <a:solidFill>
                            <a:schemeClr val="tx1"/>
                          </a:solidFill>
                          <a:latin typeface="+mn-lt"/>
                        </a:rPr>
                        <a:t>On-demand task automation</a:t>
                      </a:r>
                    </a:p>
                  </a:txBody>
                  <a:tcPr anchor="ctr">
                    <a:lnL w="3175" cap="flat" cmpd="sng" algn="ctr">
                      <a:noFill/>
                      <a:prstDash val="lgDash"/>
                      <a:round/>
                      <a:headEnd type="none" w="med" len="med"/>
                      <a:tailEnd type="none" w="med" len="med"/>
                    </a:lnL>
                    <a:lnR w="3175" cap="flat" cmpd="sng" algn="ctr">
                      <a:solidFill>
                        <a:schemeClr val="bg1">
                          <a:lumMod val="75000"/>
                          <a:lumOff val="25000"/>
                        </a:schemeClr>
                      </a:solidFill>
                      <a:prstDash val="lgDash"/>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400" rtl="0" eaLnBrk="1" latinLnBrk="0" hangingPunct="1"/>
                      <a:r>
                        <a:rPr lang="en-US" sz="1800" kern="1200">
                          <a:solidFill>
                            <a:schemeClr val="tx1"/>
                          </a:solidFill>
                          <a:latin typeface="+mn-lt"/>
                        </a:rPr>
                        <a:t>Automate company processes at scale</a:t>
                      </a:r>
                      <a:endParaRPr lang="en-US" sz="1800" kern="1200">
                        <a:solidFill>
                          <a:schemeClr val="tx1"/>
                        </a:solidFill>
                        <a:latin typeface="+mn-lt"/>
                        <a:ea typeface="+mn-ea"/>
                        <a:cs typeface="Segoe UI Light" panose="020B0502040204020203" pitchFamily="34" charset="0"/>
                      </a:endParaRPr>
                    </a:p>
                  </a:txBody>
                  <a:tcPr anchor="ctr">
                    <a:lnL w="3175" cap="flat" cmpd="sng" algn="ctr">
                      <a:solidFill>
                        <a:schemeClr val="bg1">
                          <a:lumMod val="75000"/>
                          <a:lumOff val="25000"/>
                        </a:schemeClr>
                      </a:solidFill>
                      <a:prstDash val="lgDash"/>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3533375"/>
                  </a:ext>
                </a:extLst>
              </a:tr>
              <a:tr h="738569">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a:r>
                        <a:rPr lang="en-US" sz="1800">
                          <a:solidFill>
                            <a:schemeClr val="tx1"/>
                          </a:solidFill>
                          <a:latin typeface="+mj-lt"/>
                        </a:rPr>
                        <a:t>Audience</a:t>
                      </a:r>
                      <a:endParaRPr lang="en-US" sz="1800" b="1">
                        <a:solidFill>
                          <a:schemeClr val="tx1"/>
                        </a:solidFill>
                        <a:latin typeface="+mj-lt"/>
                        <a:cs typeface="Segoe UI Light" panose="020B0502040204020203" pitchFamily="34" charset="0"/>
                      </a:endParaRPr>
                    </a:p>
                  </a:txBody>
                  <a:tcPr anchor="ctr">
                    <a:lnL w="6350" cap="flat" cmpd="sng" algn="ctr">
                      <a:solidFill>
                        <a:schemeClr val="tx1"/>
                      </a:solidFill>
                      <a:prstDash val="solid"/>
                      <a:round/>
                      <a:headEnd type="none" w="med" len="med"/>
                      <a:tailEnd type="none" w="med" len="med"/>
                    </a:lnL>
                    <a:lnR w="3175" cap="flat" cmpd="sng" algn="ctr">
                      <a:noFill/>
                      <a:prstDash val="lgDash"/>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lumOff val="15000"/>
                        <a:alpha val="6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a:r>
                        <a:rPr lang="en-US" sz="1800">
                          <a:solidFill>
                            <a:schemeClr val="tx1"/>
                          </a:solidFill>
                          <a:latin typeface="+mn-lt"/>
                        </a:rPr>
                        <a:t>Citizen developer in business unit</a:t>
                      </a:r>
                    </a:p>
                  </a:txBody>
                  <a:tcPr anchor="ctr">
                    <a:lnL w="3175" cap="flat" cmpd="sng" algn="ctr">
                      <a:noFill/>
                      <a:prstDash val="lgDash"/>
                      <a:round/>
                      <a:headEnd type="none" w="med" len="med"/>
                      <a:tailEnd type="none" w="med" len="med"/>
                    </a:lnL>
                    <a:lnR w="3175" cap="flat" cmpd="sng" algn="ctr">
                      <a:solidFill>
                        <a:schemeClr val="bg1">
                          <a:lumMod val="75000"/>
                          <a:lumOff val="25000"/>
                        </a:schemeClr>
                      </a:solidFill>
                      <a:prstDash val="lgDash"/>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400" rtl="0" eaLnBrk="1" latinLnBrk="0" hangingPunct="1"/>
                      <a:r>
                        <a:rPr lang="en-US" sz="1800" kern="1200">
                          <a:solidFill>
                            <a:schemeClr val="tx1"/>
                          </a:solidFill>
                          <a:latin typeface="+mn-lt"/>
                        </a:rPr>
                        <a:t>Automation specialist (for now) in a</a:t>
                      </a:r>
                      <a:br>
                        <a:rPr lang="en-US" sz="1800" kern="1200">
                          <a:solidFill>
                            <a:schemeClr val="tx1"/>
                          </a:solidFill>
                          <a:latin typeface="+mn-lt"/>
                        </a:rPr>
                      </a:br>
                      <a:r>
                        <a:rPr lang="en-US" sz="1800" kern="1200">
                          <a:solidFill>
                            <a:schemeClr val="tx1"/>
                          </a:solidFill>
                          <a:latin typeface="+mn-lt"/>
                        </a:rPr>
                        <a:t>Center of Excellence dedicated to RPA</a:t>
                      </a:r>
                      <a:endParaRPr lang="en-US" sz="1800" kern="1200">
                        <a:solidFill>
                          <a:schemeClr val="tx1"/>
                        </a:solidFill>
                        <a:latin typeface="+mn-lt"/>
                        <a:ea typeface="+mn-ea"/>
                        <a:cs typeface="Segoe UI Light" panose="020B0502040204020203" pitchFamily="34" charset="0"/>
                      </a:endParaRPr>
                    </a:p>
                  </a:txBody>
                  <a:tcPr anchor="ctr">
                    <a:lnL w="3175" cap="flat" cmpd="sng" algn="ctr">
                      <a:solidFill>
                        <a:schemeClr val="bg1">
                          <a:lumMod val="75000"/>
                          <a:lumOff val="25000"/>
                        </a:schemeClr>
                      </a:solidFill>
                      <a:prstDash val="lgDash"/>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3175"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8801858"/>
                  </a:ext>
                </a:extLst>
              </a:tr>
              <a:tr h="738569">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a:r>
                        <a:rPr lang="en-US" sz="1800">
                          <a:solidFill>
                            <a:schemeClr val="tx1"/>
                          </a:solidFill>
                          <a:latin typeface="+mj-lt"/>
                        </a:rPr>
                        <a:t>Requirement</a:t>
                      </a:r>
                      <a:endParaRPr lang="en-US" sz="1800" b="1">
                        <a:solidFill>
                          <a:schemeClr val="tx1"/>
                        </a:solidFill>
                        <a:latin typeface="+mj-lt"/>
                        <a:cs typeface="Segoe UI Light" panose="020B0502040204020203" pitchFamily="34" charset="0"/>
                      </a:endParaRPr>
                    </a:p>
                  </a:txBody>
                  <a:tcPr anchor="ctr">
                    <a:lnL w="6350" cap="flat" cmpd="sng" algn="ctr">
                      <a:solidFill>
                        <a:schemeClr val="tx1"/>
                      </a:solidFill>
                      <a:prstDash val="solid"/>
                      <a:round/>
                      <a:headEnd type="none" w="med" len="med"/>
                      <a:tailEnd type="none" w="med" len="med"/>
                    </a:lnL>
                    <a:lnR w="3175" cap="flat" cmpd="sng" algn="ctr">
                      <a:noFill/>
                      <a:prstDash val="lgDash"/>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lumOff val="15000"/>
                        <a:alpha val="6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a:r>
                        <a:rPr lang="en-US" sz="1800">
                          <a:solidFill>
                            <a:schemeClr val="tx1"/>
                          </a:solidFill>
                          <a:latin typeface="+mn-lt"/>
                        </a:rPr>
                        <a:t>User signed in on their device/human initiated</a:t>
                      </a:r>
                    </a:p>
                  </a:txBody>
                  <a:tcPr anchor="ctr">
                    <a:lnL w="3175" cap="flat" cmpd="sng" algn="ctr">
                      <a:noFill/>
                      <a:prstDash val="lgDash"/>
                      <a:round/>
                      <a:headEnd type="none" w="med" len="med"/>
                      <a:tailEnd type="none" w="med" len="med"/>
                    </a:lnL>
                    <a:lnR w="3175" cap="flat" cmpd="sng" algn="ctr">
                      <a:solidFill>
                        <a:schemeClr val="bg1">
                          <a:lumMod val="75000"/>
                          <a:lumOff val="25000"/>
                        </a:schemeClr>
                      </a:solidFill>
                      <a:prstDash val="lgDash"/>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400" rtl="0" eaLnBrk="1" latinLnBrk="0" hangingPunct="1"/>
                      <a:r>
                        <a:rPr lang="en-US" sz="1800" kern="1200">
                          <a:solidFill>
                            <a:schemeClr val="tx1"/>
                          </a:solidFill>
                          <a:latin typeface="+mn-lt"/>
                        </a:rPr>
                        <a:t>Jobs on dedicated machines/robots do </a:t>
                      </a:r>
                      <a:br>
                        <a:rPr lang="en-US" sz="1800" kern="1200">
                          <a:solidFill>
                            <a:schemeClr val="tx1"/>
                          </a:solidFill>
                          <a:latin typeface="+mn-lt"/>
                        </a:rPr>
                      </a:br>
                      <a:r>
                        <a:rPr lang="en-US" sz="1800" kern="1200">
                          <a:solidFill>
                            <a:schemeClr val="tx1"/>
                          </a:solidFill>
                          <a:latin typeface="+mn-lt"/>
                        </a:rPr>
                        <a:t>the work</a:t>
                      </a:r>
                      <a:endParaRPr lang="en-US" sz="1800" kern="1200">
                        <a:solidFill>
                          <a:schemeClr val="tx1"/>
                        </a:solidFill>
                        <a:latin typeface="+mn-lt"/>
                        <a:ea typeface="+mn-ea"/>
                        <a:cs typeface="Segoe UI Light" panose="020B0502040204020203" pitchFamily="34" charset="0"/>
                      </a:endParaRPr>
                    </a:p>
                  </a:txBody>
                  <a:tcPr anchor="ctr">
                    <a:lnL w="3175" cap="flat" cmpd="sng" algn="ctr">
                      <a:solidFill>
                        <a:schemeClr val="bg1">
                          <a:lumMod val="75000"/>
                          <a:lumOff val="25000"/>
                        </a:schemeClr>
                      </a:solidFill>
                      <a:prstDash val="lgDash"/>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bg1">
                          <a:lumMod val="75000"/>
                          <a:lumOff val="2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717016"/>
                  </a:ext>
                </a:extLst>
              </a:tr>
            </a:tbl>
          </a:graphicData>
        </a:graphic>
      </p:graphicFrame>
      <p:sp>
        <p:nvSpPr>
          <p:cNvPr id="19" name="Rectangle 18">
            <a:extLst>
              <a:ext uri="{FF2B5EF4-FFF2-40B4-BE49-F238E27FC236}">
                <a16:creationId xmlns:a16="http://schemas.microsoft.com/office/drawing/2014/main" id="{6451EB99-0495-41CF-BCE9-9FCD7C672548}"/>
              </a:ext>
            </a:extLst>
          </p:cNvPr>
          <p:cNvSpPr/>
          <p:nvPr/>
        </p:nvSpPr>
        <p:spPr bwMode="auto">
          <a:xfrm>
            <a:off x="2330450" y="3094272"/>
            <a:ext cx="4641850" cy="43688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Interactive automation</a:t>
            </a:r>
          </a:p>
        </p:txBody>
      </p:sp>
      <p:sp>
        <p:nvSpPr>
          <p:cNvPr id="20" name="Rectangle 19">
            <a:extLst>
              <a:ext uri="{FF2B5EF4-FFF2-40B4-BE49-F238E27FC236}">
                <a16:creationId xmlns:a16="http://schemas.microsoft.com/office/drawing/2014/main" id="{F2E929EB-7D94-4CE8-BE71-C5B619CBFC0E}"/>
              </a:ext>
            </a:extLst>
          </p:cNvPr>
          <p:cNvSpPr/>
          <p:nvPr/>
        </p:nvSpPr>
        <p:spPr bwMode="auto">
          <a:xfrm>
            <a:off x="6967538" y="3094272"/>
            <a:ext cx="4641850" cy="43688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a:solidFill>
                  <a:schemeClr val="bg1"/>
                </a:solidFill>
                <a:latin typeface="Segoe UI Semibold"/>
                <a:ea typeface="Segoe UI" pitchFamily="34" charset="0"/>
                <a:cs typeface="Segoe UI" pitchFamily="34" charset="0"/>
              </a:rPr>
              <a:t>Background automation</a:t>
            </a:r>
          </a:p>
        </p:txBody>
      </p:sp>
      <p:cxnSp>
        <p:nvCxnSpPr>
          <p:cNvPr id="9" name="Straight Connector 8">
            <a:extLst>
              <a:ext uri="{FF2B5EF4-FFF2-40B4-BE49-F238E27FC236}">
                <a16:creationId xmlns:a16="http://schemas.microsoft.com/office/drawing/2014/main" id="{B3B2ACA6-69AB-4586-B03C-09B547CF571B}"/>
              </a:ext>
            </a:extLst>
          </p:cNvPr>
          <p:cNvCxnSpPr>
            <a:cxnSpLocks/>
          </p:cNvCxnSpPr>
          <p:nvPr/>
        </p:nvCxnSpPr>
        <p:spPr>
          <a:xfrm>
            <a:off x="6967538" y="3094272"/>
            <a:ext cx="0" cy="43688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230ADB9-EC90-46D2-A74C-D816FDEDD178}"/>
              </a:ext>
            </a:extLst>
          </p:cNvPr>
          <p:cNvSpPr/>
          <p:nvPr/>
        </p:nvSpPr>
        <p:spPr bwMode="auto">
          <a:xfrm>
            <a:off x="3843338" y="2456097"/>
            <a:ext cx="1616074" cy="436881"/>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a:solidFill>
                  <a:schemeClr val="tx1"/>
                </a:solidFill>
                <a:latin typeface="Segoe UI Semibold"/>
                <a:ea typeface="Segoe UI" pitchFamily="34" charset="0"/>
                <a:cs typeface="Segoe UI" pitchFamily="34" charset="0"/>
              </a:rPr>
              <a:t>Attended</a:t>
            </a:r>
          </a:p>
        </p:txBody>
      </p:sp>
      <p:sp>
        <p:nvSpPr>
          <p:cNvPr id="40" name="Rectangle 39">
            <a:extLst>
              <a:ext uri="{FF2B5EF4-FFF2-40B4-BE49-F238E27FC236}">
                <a16:creationId xmlns:a16="http://schemas.microsoft.com/office/drawing/2014/main" id="{FDD1EEC7-2140-4ED6-B2E8-1E3621EAFC4C}"/>
              </a:ext>
            </a:extLst>
          </p:cNvPr>
          <p:cNvSpPr/>
          <p:nvPr/>
        </p:nvSpPr>
        <p:spPr bwMode="auto">
          <a:xfrm>
            <a:off x="8480426" y="2456097"/>
            <a:ext cx="1616074" cy="436881"/>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a:solidFill>
                  <a:schemeClr val="tx1"/>
                </a:solidFill>
                <a:latin typeface="Segoe UI Semibold"/>
                <a:ea typeface="Segoe UI" pitchFamily="34" charset="0"/>
                <a:cs typeface="Segoe UI" pitchFamily="34" charset="0"/>
              </a:rPr>
              <a:t>Unattended</a:t>
            </a:r>
          </a:p>
        </p:txBody>
      </p:sp>
      <p:grpSp>
        <p:nvGrpSpPr>
          <p:cNvPr id="13" name="Group 12">
            <a:extLst>
              <a:ext uri="{FF2B5EF4-FFF2-40B4-BE49-F238E27FC236}">
                <a16:creationId xmlns:a16="http://schemas.microsoft.com/office/drawing/2014/main" id="{0AEC5D27-FA4E-4989-B4AF-D4027501BEC5}"/>
              </a:ext>
            </a:extLst>
          </p:cNvPr>
          <p:cNvGrpSpPr/>
          <p:nvPr/>
        </p:nvGrpSpPr>
        <p:grpSpPr>
          <a:xfrm>
            <a:off x="4244975" y="1577396"/>
            <a:ext cx="812800" cy="812800"/>
            <a:chOff x="4244975" y="1390071"/>
            <a:chExt cx="812800" cy="812800"/>
          </a:xfrm>
        </p:grpSpPr>
        <p:grpSp>
          <p:nvGrpSpPr>
            <p:cNvPr id="25" name="Group 24">
              <a:extLst>
                <a:ext uri="{FF2B5EF4-FFF2-40B4-BE49-F238E27FC236}">
                  <a16:creationId xmlns:a16="http://schemas.microsoft.com/office/drawing/2014/main" id="{9DCA65CD-F7B1-4129-BAB8-8D1ED96033C7}"/>
                </a:ext>
              </a:extLst>
            </p:cNvPr>
            <p:cNvGrpSpPr/>
            <p:nvPr/>
          </p:nvGrpSpPr>
          <p:grpSpPr>
            <a:xfrm>
              <a:off x="4244975" y="1390071"/>
              <a:ext cx="812800" cy="812800"/>
              <a:chOff x="2247511" y="3320384"/>
              <a:chExt cx="596900" cy="596901"/>
            </a:xfrm>
          </p:grpSpPr>
          <p:sp>
            <p:nvSpPr>
              <p:cNvPr id="27" name="Diamond 26">
                <a:extLst>
                  <a:ext uri="{FF2B5EF4-FFF2-40B4-BE49-F238E27FC236}">
                    <a16:creationId xmlns:a16="http://schemas.microsoft.com/office/drawing/2014/main" id="{E48700F2-9809-4AE6-AA5E-274501C047BA}"/>
                  </a:ext>
                </a:extLst>
              </p:cNvPr>
              <p:cNvSpPr/>
              <p:nvPr/>
            </p:nvSpPr>
            <p:spPr bwMode="auto">
              <a:xfrm rot="16200000">
                <a:off x="2247510" y="3320385"/>
                <a:ext cx="596901" cy="596900"/>
              </a:xfrm>
              <a:prstGeom prst="diamond">
                <a:avLst/>
              </a:prstGeom>
              <a:solidFill>
                <a:schemeClr val="bg1"/>
              </a:solid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8" name="Diamond 27">
                <a:extLst>
                  <a:ext uri="{FF2B5EF4-FFF2-40B4-BE49-F238E27FC236}">
                    <a16:creationId xmlns:a16="http://schemas.microsoft.com/office/drawing/2014/main" id="{F94653F8-7B52-410C-BC32-F9CA05C76694}"/>
                  </a:ext>
                </a:extLst>
              </p:cNvPr>
              <p:cNvSpPr/>
              <p:nvPr/>
            </p:nvSpPr>
            <p:spPr bwMode="auto">
              <a:xfrm>
                <a:off x="2280972" y="3353848"/>
                <a:ext cx="529976" cy="529974"/>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9F44EA59-AD28-46C1-96CF-C111D056F166}"/>
                </a:ext>
              </a:extLst>
            </p:cNvPr>
            <p:cNvGrpSpPr/>
            <p:nvPr/>
          </p:nvGrpSpPr>
          <p:grpSpPr>
            <a:xfrm>
              <a:off x="4491170" y="1689624"/>
              <a:ext cx="353748" cy="213694"/>
              <a:chOff x="4158226" y="1634735"/>
              <a:chExt cx="542042" cy="327442"/>
            </a:xfrm>
            <a:noFill/>
          </p:grpSpPr>
          <p:sp>
            <p:nvSpPr>
              <p:cNvPr id="42" name="Tablet_E70A" title="Icon of a tablet">
                <a:extLst>
                  <a:ext uri="{FF2B5EF4-FFF2-40B4-BE49-F238E27FC236}">
                    <a16:creationId xmlns:a16="http://schemas.microsoft.com/office/drawing/2014/main" id="{26E49B33-3063-4972-8C42-3F28E7808057}"/>
                  </a:ext>
                </a:extLst>
              </p:cNvPr>
              <p:cNvSpPr>
                <a:spLocks noChangeAspect="1" noEditPoints="1"/>
              </p:cNvSpPr>
              <p:nvPr/>
            </p:nvSpPr>
            <p:spPr bwMode="auto">
              <a:xfrm>
                <a:off x="4158226" y="1634735"/>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grp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boy" title="Icon of a man">
                <a:extLst>
                  <a:ext uri="{FF2B5EF4-FFF2-40B4-BE49-F238E27FC236}">
                    <a16:creationId xmlns:a16="http://schemas.microsoft.com/office/drawing/2014/main" id="{48719E54-2D99-4B5A-A075-CBDEF1A813A4}"/>
                  </a:ext>
                </a:extLst>
              </p:cNvPr>
              <p:cNvSpPr>
                <a:spLocks noChangeAspect="1" noEditPoints="1"/>
              </p:cNvSpPr>
              <p:nvPr/>
            </p:nvSpPr>
            <p:spPr bwMode="auto">
              <a:xfrm>
                <a:off x="4496722" y="1697245"/>
                <a:ext cx="203546" cy="264932"/>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solidFill>
                <a:srgbClr val="50E6FF"/>
              </a:solid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C0BEC06F-17FE-4181-AEF9-7D660EC9206E}"/>
              </a:ext>
            </a:extLst>
          </p:cNvPr>
          <p:cNvGrpSpPr/>
          <p:nvPr/>
        </p:nvGrpSpPr>
        <p:grpSpPr>
          <a:xfrm>
            <a:off x="8882062" y="1577396"/>
            <a:ext cx="812800" cy="812800"/>
            <a:chOff x="8882062" y="1390072"/>
            <a:chExt cx="812800" cy="812800"/>
          </a:xfrm>
        </p:grpSpPr>
        <p:sp>
          <p:nvSpPr>
            <p:cNvPr id="32" name="Diamond 31">
              <a:extLst>
                <a:ext uri="{FF2B5EF4-FFF2-40B4-BE49-F238E27FC236}">
                  <a16:creationId xmlns:a16="http://schemas.microsoft.com/office/drawing/2014/main" id="{B025F5B4-32CA-41BD-B63A-ED482E24DAF6}"/>
                </a:ext>
              </a:extLst>
            </p:cNvPr>
            <p:cNvSpPr/>
            <p:nvPr/>
          </p:nvSpPr>
          <p:spPr bwMode="auto">
            <a:xfrm rot="16200000">
              <a:off x="8882062" y="1390072"/>
              <a:ext cx="812800" cy="812800"/>
            </a:xfrm>
            <a:prstGeom prst="diamond">
              <a:avLst/>
            </a:prstGeom>
            <a:solidFill>
              <a:schemeClr val="bg1"/>
            </a:solid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3" name="Diamond 32">
              <a:extLst>
                <a:ext uri="{FF2B5EF4-FFF2-40B4-BE49-F238E27FC236}">
                  <a16:creationId xmlns:a16="http://schemas.microsoft.com/office/drawing/2014/main" id="{7C693353-492C-4BD2-80FF-D898BC301038}"/>
                </a:ext>
              </a:extLst>
            </p:cNvPr>
            <p:cNvSpPr/>
            <p:nvPr/>
          </p:nvSpPr>
          <p:spPr bwMode="auto">
            <a:xfrm>
              <a:off x="8927627" y="1435639"/>
              <a:ext cx="721669" cy="721666"/>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800">
                <a:solidFill>
                  <a:srgbClr val="000000"/>
                </a:solidFill>
                <a:latin typeface="+mj-lt"/>
                <a:ea typeface="Segoe UI" pitchFamily="34" charset="0"/>
                <a:cs typeface="Segoe UI" pitchFamily="34" charset="0"/>
              </a:endParaRPr>
            </a:p>
          </p:txBody>
        </p:sp>
        <p:sp>
          <p:nvSpPr>
            <p:cNvPr id="44" name="Robot_E99A" title="Icon of a robot">
              <a:extLst>
                <a:ext uri="{FF2B5EF4-FFF2-40B4-BE49-F238E27FC236}">
                  <a16:creationId xmlns:a16="http://schemas.microsoft.com/office/drawing/2014/main" id="{1DA3D79D-B8E3-4BED-92B5-DC51A2E82900}"/>
                </a:ext>
              </a:extLst>
            </p:cNvPr>
            <p:cNvSpPr>
              <a:spLocks noChangeAspect="1" noEditPoints="1"/>
            </p:cNvSpPr>
            <p:nvPr/>
          </p:nvSpPr>
          <p:spPr bwMode="auto">
            <a:xfrm>
              <a:off x="9169741" y="1628776"/>
              <a:ext cx="237440" cy="306818"/>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17" name="Straight Connector 16">
            <a:extLst>
              <a:ext uri="{FF2B5EF4-FFF2-40B4-BE49-F238E27FC236}">
                <a16:creationId xmlns:a16="http://schemas.microsoft.com/office/drawing/2014/main" id="{1469B966-A631-47E6-9484-7A58E1A79F91}"/>
              </a:ext>
            </a:extLst>
          </p:cNvPr>
          <p:cNvCxnSpPr>
            <a:cxnSpLocks/>
          </p:cNvCxnSpPr>
          <p:nvPr/>
        </p:nvCxnSpPr>
        <p:spPr>
          <a:xfrm>
            <a:off x="4459222" y="2892978"/>
            <a:ext cx="384307" cy="0"/>
          </a:xfrm>
          <a:prstGeom prst="line">
            <a:avLst/>
          </a:prstGeom>
          <a:ln w="317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6A167F2-EBFC-4C52-83B8-B409882F488B}"/>
              </a:ext>
            </a:extLst>
          </p:cNvPr>
          <p:cNvCxnSpPr>
            <a:cxnSpLocks/>
          </p:cNvCxnSpPr>
          <p:nvPr/>
        </p:nvCxnSpPr>
        <p:spPr>
          <a:xfrm>
            <a:off x="9164572" y="2892978"/>
            <a:ext cx="384307" cy="0"/>
          </a:xfrm>
          <a:prstGeom prst="line">
            <a:avLst/>
          </a:prstGeom>
          <a:ln w="317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532ED7-D782-4559-B940-2A92073D88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BC532ED7-D782-4559-B940-2A92073D88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04FBAD1-BB9A-445A-A9A7-9D99AE37DA5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74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84" name="Freeform: Shape 83">
            <a:extLst>
              <a:ext uri="{FF2B5EF4-FFF2-40B4-BE49-F238E27FC236}">
                <a16:creationId xmlns:a16="http://schemas.microsoft.com/office/drawing/2014/main" id="{618C94E6-3D90-41B4-8D57-CC83753E3D3D}"/>
              </a:ext>
            </a:extLst>
          </p:cNvPr>
          <p:cNvSpPr/>
          <p:nvPr/>
        </p:nvSpPr>
        <p:spPr bwMode="auto">
          <a:xfrm>
            <a:off x="0" y="0"/>
            <a:ext cx="5236368" cy="6781799"/>
          </a:xfrm>
          <a:custGeom>
            <a:avLst/>
            <a:gdLst>
              <a:gd name="connsiteX0" fmla="*/ 0 w 5236368"/>
              <a:gd name="connsiteY0" fmla="*/ 0 h 6781799"/>
              <a:gd name="connsiteX1" fmla="*/ 3690939 w 5236368"/>
              <a:gd name="connsiteY1" fmla="*/ 0 h 6781799"/>
              <a:gd name="connsiteX2" fmla="*/ 5236368 w 5236368"/>
              <a:gd name="connsiteY2" fmla="*/ 1545431 h 6781799"/>
              <a:gd name="connsiteX3" fmla="*/ 0 w 5236368"/>
              <a:gd name="connsiteY3" fmla="*/ 6781799 h 6781799"/>
            </a:gdLst>
            <a:ahLst/>
            <a:cxnLst>
              <a:cxn ang="0">
                <a:pos x="connsiteX0" y="connsiteY0"/>
              </a:cxn>
              <a:cxn ang="0">
                <a:pos x="connsiteX1" y="connsiteY1"/>
              </a:cxn>
              <a:cxn ang="0">
                <a:pos x="connsiteX2" y="connsiteY2"/>
              </a:cxn>
              <a:cxn ang="0">
                <a:pos x="connsiteX3" y="connsiteY3"/>
              </a:cxn>
            </a:cxnLst>
            <a:rect l="l" t="t" r="r" b="b"/>
            <a:pathLst>
              <a:path w="5236368" h="6781799">
                <a:moveTo>
                  <a:pt x="0" y="0"/>
                </a:moveTo>
                <a:lnTo>
                  <a:pt x="3690939" y="0"/>
                </a:lnTo>
                <a:lnTo>
                  <a:pt x="5236368" y="1545431"/>
                </a:lnTo>
                <a:lnTo>
                  <a:pt x="0" y="6781799"/>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BD6993B2-EB57-405F-ABBB-0D6BCAF7F97D}"/>
              </a:ext>
            </a:extLst>
          </p:cNvPr>
          <p:cNvSpPr/>
          <p:nvPr/>
        </p:nvSpPr>
        <p:spPr>
          <a:xfrm>
            <a:off x="615652" y="1253078"/>
            <a:ext cx="3074661" cy="1708518"/>
          </a:xfrm>
          <a:prstGeom prst="rect">
            <a:avLst/>
          </a:prstGeom>
        </p:spPr>
        <p:txBody>
          <a:bodyPr wrap="square" lIns="0" tIns="0" rIns="0" bIns="0">
            <a:noAutofit/>
          </a:bodyPr>
          <a:lstStyle/>
          <a:p>
            <a:r>
              <a:rPr lang="en-US" sz="3600">
                <a:latin typeface="+mj-lt"/>
              </a:rPr>
              <a:t>Diverse Toolset to run UI Flows</a:t>
            </a:r>
          </a:p>
        </p:txBody>
      </p:sp>
      <p:cxnSp>
        <p:nvCxnSpPr>
          <p:cNvPr id="88" name="Straight Connector 87">
            <a:extLst>
              <a:ext uri="{FF2B5EF4-FFF2-40B4-BE49-F238E27FC236}">
                <a16:creationId xmlns:a16="http://schemas.microsoft.com/office/drawing/2014/main" id="{74BBD802-9BD2-4153-A256-637C453F8F73}"/>
              </a:ext>
            </a:extLst>
          </p:cNvPr>
          <p:cNvCxnSpPr>
            <a:cxnSpLocks/>
          </p:cNvCxnSpPr>
          <p:nvPr/>
        </p:nvCxnSpPr>
        <p:spPr>
          <a:xfrm>
            <a:off x="6546881" y="3923731"/>
            <a:ext cx="0" cy="2595798"/>
          </a:xfrm>
          <a:prstGeom prst="line">
            <a:avLst/>
          </a:prstGeom>
          <a:ln w="635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050CFDBA-7DDF-425F-AB19-CE3B7816EDBB}"/>
              </a:ext>
            </a:extLst>
          </p:cNvPr>
          <p:cNvGrpSpPr/>
          <p:nvPr/>
        </p:nvGrpSpPr>
        <p:grpSpPr>
          <a:xfrm>
            <a:off x="4203761" y="2461394"/>
            <a:ext cx="1981140" cy="2281102"/>
            <a:chOff x="4203761" y="2461394"/>
            <a:chExt cx="1981140" cy="2281102"/>
          </a:xfrm>
        </p:grpSpPr>
        <p:sp>
          <p:nvSpPr>
            <p:cNvPr id="91" name="Rectangle 90">
              <a:extLst>
                <a:ext uri="{FF2B5EF4-FFF2-40B4-BE49-F238E27FC236}">
                  <a16:creationId xmlns:a16="http://schemas.microsoft.com/office/drawing/2014/main" id="{BE837315-7868-48D1-828C-57E8ED8689A3}"/>
                </a:ext>
              </a:extLst>
            </p:cNvPr>
            <p:cNvSpPr/>
            <p:nvPr/>
          </p:nvSpPr>
          <p:spPr bwMode="auto">
            <a:xfrm>
              <a:off x="4203761" y="3650296"/>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accent1"/>
                  </a:solidFill>
                  <a:latin typeface="+mj-lt"/>
                  <a:ea typeface="Segoe UI" pitchFamily="34" charset="0"/>
                  <a:cs typeface="Segoe UI" pitchFamily="34" charset="0"/>
                </a:rPr>
                <a:t>Windows 10 Apps</a:t>
              </a:r>
            </a:p>
          </p:txBody>
        </p:sp>
        <p:grpSp>
          <p:nvGrpSpPr>
            <p:cNvPr id="5" name="Group 4">
              <a:extLst>
                <a:ext uri="{FF2B5EF4-FFF2-40B4-BE49-F238E27FC236}">
                  <a16:creationId xmlns:a16="http://schemas.microsoft.com/office/drawing/2014/main" id="{41512EA4-5855-4098-829D-635F785728FF}"/>
                </a:ext>
              </a:extLst>
            </p:cNvPr>
            <p:cNvGrpSpPr/>
            <p:nvPr/>
          </p:nvGrpSpPr>
          <p:grpSpPr>
            <a:xfrm>
              <a:off x="4638846" y="2461394"/>
              <a:ext cx="1110970" cy="1110970"/>
              <a:chOff x="4638846" y="2461394"/>
              <a:chExt cx="1110970" cy="1110970"/>
            </a:xfrm>
          </p:grpSpPr>
          <p:sp>
            <p:nvSpPr>
              <p:cNvPr id="96" name="Diamond 95">
                <a:extLst>
                  <a:ext uri="{FF2B5EF4-FFF2-40B4-BE49-F238E27FC236}">
                    <a16:creationId xmlns:a16="http://schemas.microsoft.com/office/drawing/2014/main" id="{0E2A1559-6F27-46F4-8CDC-866EEA471DC3}"/>
                  </a:ext>
                </a:extLst>
              </p:cNvPr>
              <p:cNvSpPr/>
              <p:nvPr/>
            </p:nvSpPr>
            <p:spPr bwMode="auto">
              <a:xfrm rot="16200000">
                <a:off x="4638846" y="2461394"/>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26" name="ContactCard_EEBD" title="Icon of a contact card">
                <a:extLst>
                  <a:ext uri="{FF2B5EF4-FFF2-40B4-BE49-F238E27FC236}">
                    <a16:creationId xmlns:a16="http://schemas.microsoft.com/office/drawing/2014/main" id="{BE05379B-BC15-4629-8A17-092C49525ED4}"/>
                  </a:ext>
                </a:extLst>
              </p:cNvPr>
              <p:cNvSpPr>
                <a:spLocks noChangeAspect="1" noEditPoints="1"/>
              </p:cNvSpPr>
              <p:nvPr/>
            </p:nvSpPr>
            <p:spPr bwMode="auto">
              <a:xfrm>
                <a:off x="4955611" y="2813870"/>
                <a:ext cx="477441" cy="35035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a:extLst>
              <a:ext uri="{FF2B5EF4-FFF2-40B4-BE49-F238E27FC236}">
                <a16:creationId xmlns:a16="http://schemas.microsoft.com/office/drawing/2014/main" id="{73723335-89DC-47CF-A1D5-FF8E000D0F12}"/>
              </a:ext>
            </a:extLst>
          </p:cNvPr>
          <p:cNvGrpSpPr/>
          <p:nvPr/>
        </p:nvGrpSpPr>
        <p:grpSpPr>
          <a:xfrm>
            <a:off x="6908861" y="2461393"/>
            <a:ext cx="1981140" cy="2281103"/>
            <a:chOff x="6908861" y="2461393"/>
            <a:chExt cx="1981140" cy="2281103"/>
          </a:xfrm>
        </p:grpSpPr>
        <p:sp>
          <p:nvSpPr>
            <p:cNvPr id="98" name="Rectangle 97">
              <a:extLst>
                <a:ext uri="{FF2B5EF4-FFF2-40B4-BE49-F238E27FC236}">
                  <a16:creationId xmlns:a16="http://schemas.microsoft.com/office/drawing/2014/main" id="{07433A69-5278-46F0-9725-8E810F6C96A9}"/>
                </a:ext>
              </a:extLst>
            </p:cNvPr>
            <p:cNvSpPr/>
            <p:nvPr/>
          </p:nvSpPr>
          <p:spPr bwMode="auto">
            <a:xfrm>
              <a:off x="6908861" y="3650296"/>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accent1"/>
                  </a:solidFill>
                  <a:latin typeface="+mj-lt"/>
                  <a:ea typeface="Segoe UI" pitchFamily="34" charset="0"/>
                  <a:cs typeface="Segoe UI" pitchFamily="34" charset="0"/>
                </a:rPr>
                <a:t>Web Apps</a:t>
              </a:r>
            </a:p>
          </p:txBody>
        </p:sp>
        <p:grpSp>
          <p:nvGrpSpPr>
            <p:cNvPr id="9" name="Group 8">
              <a:extLst>
                <a:ext uri="{FF2B5EF4-FFF2-40B4-BE49-F238E27FC236}">
                  <a16:creationId xmlns:a16="http://schemas.microsoft.com/office/drawing/2014/main" id="{A05A9352-0E4D-4A20-B4BC-3030194C2F31}"/>
                </a:ext>
              </a:extLst>
            </p:cNvPr>
            <p:cNvGrpSpPr/>
            <p:nvPr/>
          </p:nvGrpSpPr>
          <p:grpSpPr>
            <a:xfrm>
              <a:off x="7343946" y="2461393"/>
              <a:ext cx="1110970" cy="1110970"/>
              <a:chOff x="7343946" y="2461393"/>
              <a:chExt cx="1110970" cy="1110970"/>
            </a:xfrm>
          </p:grpSpPr>
          <p:sp>
            <p:nvSpPr>
              <p:cNvPr id="106" name="Diamond 105">
                <a:extLst>
                  <a:ext uri="{FF2B5EF4-FFF2-40B4-BE49-F238E27FC236}">
                    <a16:creationId xmlns:a16="http://schemas.microsoft.com/office/drawing/2014/main" id="{6CB25BF9-EB1D-497D-A83D-9B2A1E754B31}"/>
                  </a:ext>
                </a:extLst>
              </p:cNvPr>
              <p:cNvSpPr/>
              <p:nvPr/>
            </p:nvSpPr>
            <p:spPr bwMode="auto">
              <a:xfrm rot="16200000">
                <a:off x="7343946" y="2461393"/>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nvGrpSpPr>
              <p:cNvPr id="127" name="Graphic 351">
                <a:extLst>
                  <a:ext uri="{FF2B5EF4-FFF2-40B4-BE49-F238E27FC236}">
                    <a16:creationId xmlns:a16="http://schemas.microsoft.com/office/drawing/2014/main" id="{115AEF68-0153-4E9D-885E-2F9719CE18FB}"/>
                  </a:ext>
                </a:extLst>
              </p:cNvPr>
              <p:cNvGrpSpPr/>
              <p:nvPr/>
            </p:nvGrpSpPr>
            <p:grpSpPr>
              <a:xfrm>
                <a:off x="7651183" y="2725386"/>
                <a:ext cx="496496" cy="527322"/>
                <a:chOff x="5784944" y="3035488"/>
                <a:chExt cx="869728" cy="923735"/>
              </a:xfrm>
              <a:noFill/>
            </p:grpSpPr>
            <p:sp>
              <p:nvSpPr>
                <p:cNvPr id="128" name="Freeform: Shape 127">
                  <a:extLst>
                    <a:ext uri="{FF2B5EF4-FFF2-40B4-BE49-F238E27FC236}">
                      <a16:creationId xmlns:a16="http://schemas.microsoft.com/office/drawing/2014/main" id="{A3E1AED1-955D-4785-9B9C-C24A2EF5BD1F}"/>
                    </a:ext>
                  </a:extLst>
                </p:cNvPr>
                <p:cNvSpPr/>
                <p:nvPr/>
              </p:nvSpPr>
              <p:spPr>
                <a:xfrm>
                  <a:off x="6015068" y="3269328"/>
                  <a:ext cx="388239" cy="415956"/>
                </a:xfrm>
                <a:custGeom>
                  <a:avLst/>
                  <a:gdLst>
                    <a:gd name="connsiteX0" fmla="*/ 351663 w 388239"/>
                    <a:gd name="connsiteY0" fmla="*/ 415957 h 415956"/>
                    <a:gd name="connsiteX1" fmla="*/ 36576 w 388239"/>
                    <a:gd name="connsiteY1" fmla="*/ 415957 h 415956"/>
                    <a:gd name="connsiteX2" fmla="*/ 0 w 388239"/>
                    <a:gd name="connsiteY2" fmla="*/ 375475 h 415956"/>
                    <a:gd name="connsiteX3" fmla="*/ 0 w 388239"/>
                    <a:gd name="connsiteY3" fmla="*/ 40481 h 415956"/>
                    <a:gd name="connsiteX4" fmla="*/ 36576 w 388239"/>
                    <a:gd name="connsiteY4" fmla="*/ 0 h 415956"/>
                    <a:gd name="connsiteX5" fmla="*/ 351663 w 388239"/>
                    <a:gd name="connsiteY5" fmla="*/ 0 h 415956"/>
                    <a:gd name="connsiteX6" fmla="*/ 388239 w 388239"/>
                    <a:gd name="connsiteY6" fmla="*/ 40481 h 415956"/>
                    <a:gd name="connsiteX7" fmla="*/ 388239 w 388239"/>
                    <a:gd name="connsiteY7" fmla="*/ 375475 h 415956"/>
                    <a:gd name="connsiteX8" fmla="*/ 351663 w 388239"/>
                    <a:gd name="connsiteY8" fmla="*/ 415957 h 415956"/>
                    <a:gd name="connsiteX9" fmla="*/ 351663 w 388239"/>
                    <a:gd name="connsiteY9" fmla="*/ 415957 h 415956"/>
                    <a:gd name="connsiteX10" fmla="*/ 351663 w 388239"/>
                    <a:gd name="connsiteY10" fmla="*/ 415957 h 415956"/>
                    <a:gd name="connsiteX11" fmla="*/ 351663 w 388239"/>
                    <a:gd name="connsiteY11" fmla="*/ 415957 h 415956"/>
                    <a:gd name="connsiteX12" fmla="*/ 351663 w 388239"/>
                    <a:gd name="connsiteY12" fmla="*/ 415957 h 415956"/>
                    <a:gd name="connsiteX13" fmla="*/ 351663 w 388239"/>
                    <a:gd name="connsiteY13" fmla="*/ 415957 h 41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8239" h="415956">
                      <a:moveTo>
                        <a:pt x="351663" y="415957"/>
                      </a:moveTo>
                      <a:cubicBezTo>
                        <a:pt x="36576" y="415957"/>
                        <a:pt x="36576" y="415957"/>
                        <a:pt x="36576" y="415957"/>
                      </a:cubicBezTo>
                      <a:cubicBezTo>
                        <a:pt x="16859" y="415957"/>
                        <a:pt x="0" y="395764"/>
                        <a:pt x="0" y="375475"/>
                      </a:cubicBezTo>
                      <a:cubicBezTo>
                        <a:pt x="0" y="40481"/>
                        <a:pt x="0" y="40481"/>
                        <a:pt x="0" y="40481"/>
                      </a:cubicBezTo>
                      <a:cubicBezTo>
                        <a:pt x="0" y="14478"/>
                        <a:pt x="19717" y="0"/>
                        <a:pt x="36576" y="0"/>
                      </a:cubicBezTo>
                      <a:cubicBezTo>
                        <a:pt x="351663" y="0"/>
                        <a:pt x="351663" y="0"/>
                        <a:pt x="351663" y="0"/>
                      </a:cubicBezTo>
                      <a:cubicBezTo>
                        <a:pt x="374142" y="0"/>
                        <a:pt x="388239" y="14478"/>
                        <a:pt x="388239" y="40481"/>
                      </a:cubicBezTo>
                      <a:cubicBezTo>
                        <a:pt x="388239" y="375475"/>
                        <a:pt x="388239" y="375475"/>
                        <a:pt x="388239" y="375475"/>
                      </a:cubicBezTo>
                      <a:cubicBezTo>
                        <a:pt x="388239" y="398621"/>
                        <a:pt x="374142" y="415957"/>
                        <a:pt x="351663" y="415957"/>
                      </a:cubicBezTo>
                      <a:lnTo>
                        <a:pt x="351663" y="415957"/>
                      </a:lnTo>
                      <a:lnTo>
                        <a:pt x="351663" y="415957"/>
                      </a:lnTo>
                      <a:lnTo>
                        <a:pt x="351663" y="415957"/>
                      </a:lnTo>
                      <a:lnTo>
                        <a:pt x="351663" y="415957"/>
                      </a:lnTo>
                      <a:lnTo>
                        <a:pt x="351663" y="415957"/>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9" name="Freeform: Shape 128">
                  <a:extLst>
                    <a:ext uri="{FF2B5EF4-FFF2-40B4-BE49-F238E27FC236}">
                      <a16:creationId xmlns:a16="http://schemas.microsoft.com/office/drawing/2014/main" id="{B6700761-8255-410C-B372-3D0902A339D7}"/>
                    </a:ext>
                  </a:extLst>
                </p:cNvPr>
                <p:cNvSpPr/>
                <p:nvPr/>
              </p:nvSpPr>
              <p:spPr>
                <a:xfrm>
                  <a:off x="6079743" y="3211702"/>
                  <a:ext cx="9525" cy="57721"/>
                </a:xfrm>
                <a:custGeom>
                  <a:avLst/>
                  <a:gdLst>
                    <a:gd name="connsiteX0" fmla="*/ 0 w 9525"/>
                    <a:gd name="connsiteY0" fmla="*/ 57721 h 57721"/>
                    <a:gd name="connsiteX1" fmla="*/ 0 w 9525"/>
                    <a:gd name="connsiteY1" fmla="*/ 0 h 57721"/>
                  </a:gdLst>
                  <a:ahLst/>
                  <a:cxnLst>
                    <a:cxn ang="0">
                      <a:pos x="connsiteX0" y="connsiteY0"/>
                    </a:cxn>
                    <a:cxn ang="0">
                      <a:pos x="connsiteX1" y="connsiteY1"/>
                    </a:cxn>
                  </a:cxnLst>
                  <a:rect l="l" t="t" r="r" b="b"/>
                  <a:pathLst>
                    <a:path w="9525" h="57721">
                      <a:moveTo>
                        <a:pt x="0" y="57721"/>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0" name="Freeform: Shape 129">
                  <a:extLst>
                    <a:ext uri="{FF2B5EF4-FFF2-40B4-BE49-F238E27FC236}">
                      <a16:creationId xmlns:a16="http://schemas.microsoft.com/office/drawing/2014/main" id="{23FE9DFD-A36F-473B-BC56-1C40489BD8A0}"/>
                    </a:ext>
                  </a:extLst>
                </p:cNvPr>
                <p:cNvSpPr/>
                <p:nvPr/>
              </p:nvSpPr>
              <p:spPr>
                <a:xfrm>
                  <a:off x="6147275" y="3145217"/>
                  <a:ext cx="9525" cy="124205"/>
                </a:xfrm>
                <a:custGeom>
                  <a:avLst/>
                  <a:gdLst>
                    <a:gd name="connsiteX0" fmla="*/ 0 w 9525"/>
                    <a:gd name="connsiteY0" fmla="*/ 124206 h 124205"/>
                    <a:gd name="connsiteX1" fmla="*/ 0 w 9525"/>
                    <a:gd name="connsiteY1" fmla="*/ 0 h 124205"/>
                  </a:gdLst>
                  <a:ahLst/>
                  <a:cxnLst>
                    <a:cxn ang="0">
                      <a:pos x="connsiteX0" y="connsiteY0"/>
                    </a:cxn>
                    <a:cxn ang="0">
                      <a:pos x="connsiteX1" y="connsiteY1"/>
                    </a:cxn>
                  </a:cxnLst>
                  <a:rect l="l" t="t" r="r" b="b"/>
                  <a:pathLst>
                    <a:path w="9525" h="124205">
                      <a:moveTo>
                        <a:pt x="0" y="124206"/>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1" name="Freeform: Shape 130">
                  <a:extLst>
                    <a:ext uri="{FF2B5EF4-FFF2-40B4-BE49-F238E27FC236}">
                      <a16:creationId xmlns:a16="http://schemas.microsoft.com/office/drawing/2014/main" id="{3D8830DF-2F90-4A22-9F92-31E77D74CD6C}"/>
                    </a:ext>
                  </a:extLst>
                </p:cNvPr>
                <p:cNvSpPr/>
                <p:nvPr/>
              </p:nvSpPr>
              <p:spPr>
                <a:xfrm>
                  <a:off x="6209188" y="3211607"/>
                  <a:ext cx="9525" cy="57721"/>
                </a:xfrm>
                <a:custGeom>
                  <a:avLst/>
                  <a:gdLst>
                    <a:gd name="connsiteX0" fmla="*/ 0 w 9525"/>
                    <a:gd name="connsiteY0" fmla="*/ 0 h 57721"/>
                    <a:gd name="connsiteX1" fmla="*/ 0 w 9525"/>
                    <a:gd name="connsiteY1" fmla="*/ 57721 h 57721"/>
                  </a:gdLst>
                  <a:ahLst/>
                  <a:cxnLst>
                    <a:cxn ang="0">
                      <a:pos x="connsiteX0" y="connsiteY0"/>
                    </a:cxn>
                    <a:cxn ang="0">
                      <a:pos x="connsiteX1" y="connsiteY1"/>
                    </a:cxn>
                  </a:cxnLst>
                  <a:rect l="l" t="t" r="r" b="b"/>
                  <a:pathLst>
                    <a:path w="9525" h="57721">
                      <a:moveTo>
                        <a:pt x="0" y="0"/>
                      </a:moveTo>
                      <a:cubicBezTo>
                        <a:pt x="0" y="57721"/>
                        <a:pt x="0" y="57721"/>
                        <a:pt x="0" y="577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2" name="Freeform: Shape 131">
                  <a:extLst>
                    <a:ext uri="{FF2B5EF4-FFF2-40B4-BE49-F238E27FC236}">
                      <a16:creationId xmlns:a16="http://schemas.microsoft.com/office/drawing/2014/main" id="{614F3503-7BD8-4801-B1A2-2ACE933C874F}"/>
                    </a:ext>
                  </a:extLst>
                </p:cNvPr>
                <p:cNvSpPr/>
                <p:nvPr/>
              </p:nvSpPr>
              <p:spPr>
                <a:xfrm>
                  <a:off x="6276625" y="3211607"/>
                  <a:ext cx="9525" cy="57721"/>
                </a:xfrm>
                <a:custGeom>
                  <a:avLst/>
                  <a:gdLst>
                    <a:gd name="connsiteX0" fmla="*/ 0 w 9525"/>
                    <a:gd name="connsiteY0" fmla="*/ 0 h 57721"/>
                    <a:gd name="connsiteX1" fmla="*/ 0 w 9525"/>
                    <a:gd name="connsiteY1" fmla="*/ 57721 h 57721"/>
                  </a:gdLst>
                  <a:ahLst/>
                  <a:cxnLst>
                    <a:cxn ang="0">
                      <a:pos x="connsiteX0" y="connsiteY0"/>
                    </a:cxn>
                    <a:cxn ang="0">
                      <a:pos x="connsiteX1" y="connsiteY1"/>
                    </a:cxn>
                  </a:cxnLst>
                  <a:rect l="l" t="t" r="r" b="b"/>
                  <a:pathLst>
                    <a:path w="9525" h="57721">
                      <a:moveTo>
                        <a:pt x="0" y="0"/>
                      </a:moveTo>
                      <a:cubicBezTo>
                        <a:pt x="0" y="57721"/>
                        <a:pt x="0" y="57721"/>
                        <a:pt x="0" y="577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3" name="Freeform: Shape 132">
                  <a:extLst>
                    <a:ext uri="{FF2B5EF4-FFF2-40B4-BE49-F238E27FC236}">
                      <a16:creationId xmlns:a16="http://schemas.microsoft.com/office/drawing/2014/main" id="{2F7852D1-D27F-4F2D-8B4A-609D6B96E003}"/>
                    </a:ext>
                  </a:extLst>
                </p:cNvPr>
                <p:cNvSpPr/>
                <p:nvPr/>
              </p:nvSpPr>
              <p:spPr>
                <a:xfrm>
                  <a:off x="6403307" y="3338670"/>
                  <a:ext cx="64674" cy="9525"/>
                </a:xfrm>
                <a:custGeom>
                  <a:avLst/>
                  <a:gdLst>
                    <a:gd name="connsiteX0" fmla="*/ 64675 w 64674"/>
                    <a:gd name="connsiteY0" fmla="*/ 0 h 9525"/>
                    <a:gd name="connsiteX1" fmla="*/ 0 w 64674"/>
                    <a:gd name="connsiteY1" fmla="*/ 0 h 9525"/>
                  </a:gdLst>
                  <a:ahLst/>
                  <a:cxnLst>
                    <a:cxn ang="0">
                      <a:pos x="connsiteX0" y="connsiteY0"/>
                    </a:cxn>
                    <a:cxn ang="0">
                      <a:pos x="connsiteX1" y="connsiteY1"/>
                    </a:cxn>
                  </a:cxnLst>
                  <a:rect l="l" t="t" r="r" b="b"/>
                  <a:pathLst>
                    <a:path w="64674" h="9525">
                      <a:moveTo>
                        <a:pt x="64675" y="0"/>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4" name="Freeform: Shape 133">
                  <a:extLst>
                    <a:ext uri="{FF2B5EF4-FFF2-40B4-BE49-F238E27FC236}">
                      <a16:creationId xmlns:a16="http://schemas.microsoft.com/office/drawing/2014/main" id="{204A98BB-3B37-449B-9D55-7D3FC0C7B9C5}"/>
                    </a:ext>
                  </a:extLst>
                </p:cNvPr>
                <p:cNvSpPr/>
                <p:nvPr/>
              </p:nvSpPr>
              <p:spPr>
                <a:xfrm>
                  <a:off x="6403307" y="3471544"/>
                  <a:ext cx="64674" cy="9525"/>
                </a:xfrm>
                <a:custGeom>
                  <a:avLst/>
                  <a:gdLst>
                    <a:gd name="connsiteX0" fmla="*/ 64675 w 64674"/>
                    <a:gd name="connsiteY0" fmla="*/ 0 h 9525"/>
                    <a:gd name="connsiteX1" fmla="*/ 0 w 64674"/>
                    <a:gd name="connsiteY1" fmla="*/ 0 h 9525"/>
                  </a:gdLst>
                  <a:ahLst/>
                  <a:cxnLst>
                    <a:cxn ang="0">
                      <a:pos x="connsiteX0" y="connsiteY0"/>
                    </a:cxn>
                    <a:cxn ang="0">
                      <a:pos x="connsiteX1" y="connsiteY1"/>
                    </a:cxn>
                  </a:cxnLst>
                  <a:rect l="l" t="t" r="r" b="b"/>
                  <a:pathLst>
                    <a:path w="64674" h="9525">
                      <a:moveTo>
                        <a:pt x="64675" y="0"/>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5" name="Freeform: Shape 134">
                  <a:extLst>
                    <a:ext uri="{FF2B5EF4-FFF2-40B4-BE49-F238E27FC236}">
                      <a16:creationId xmlns:a16="http://schemas.microsoft.com/office/drawing/2014/main" id="{B99FEADD-3150-4EFC-97E9-9CE099E3AE78}"/>
                    </a:ext>
                  </a:extLst>
                </p:cNvPr>
                <p:cNvSpPr/>
                <p:nvPr/>
              </p:nvSpPr>
              <p:spPr>
                <a:xfrm>
                  <a:off x="6403307" y="3552411"/>
                  <a:ext cx="64674" cy="9525"/>
                </a:xfrm>
                <a:custGeom>
                  <a:avLst/>
                  <a:gdLst>
                    <a:gd name="connsiteX0" fmla="*/ 64675 w 64674"/>
                    <a:gd name="connsiteY0" fmla="*/ 0 h 9525"/>
                    <a:gd name="connsiteX1" fmla="*/ 0 w 64674"/>
                    <a:gd name="connsiteY1" fmla="*/ 0 h 9525"/>
                  </a:gdLst>
                  <a:ahLst/>
                  <a:cxnLst>
                    <a:cxn ang="0">
                      <a:pos x="connsiteX0" y="connsiteY0"/>
                    </a:cxn>
                    <a:cxn ang="0">
                      <a:pos x="connsiteX1" y="connsiteY1"/>
                    </a:cxn>
                  </a:cxnLst>
                  <a:rect l="l" t="t" r="r" b="b"/>
                  <a:pathLst>
                    <a:path w="64674" h="9525">
                      <a:moveTo>
                        <a:pt x="64675" y="0"/>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6" name="Freeform: Shape 135">
                  <a:extLst>
                    <a:ext uri="{FF2B5EF4-FFF2-40B4-BE49-F238E27FC236}">
                      <a16:creationId xmlns:a16="http://schemas.microsoft.com/office/drawing/2014/main" id="{13790D5F-3EB7-4C05-9ABB-EBCE7245F3C9}"/>
                    </a:ext>
                  </a:extLst>
                </p:cNvPr>
                <p:cNvSpPr/>
                <p:nvPr/>
              </p:nvSpPr>
              <p:spPr>
                <a:xfrm>
                  <a:off x="6403307" y="3618896"/>
                  <a:ext cx="64674" cy="9525"/>
                </a:xfrm>
                <a:custGeom>
                  <a:avLst/>
                  <a:gdLst>
                    <a:gd name="connsiteX0" fmla="*/ 64675 w 64674"/>
                    <a:gd name="connsiteY0" fmla="*/ 0 h 9525"/>
                    <a:gd name="connsiteX1" fmla="*/ 0 w 64674"/>
                    <a:gd name="connsiteY1" fmla="*/ 0 h 9525"/>
                  </a:gdLst>
                  <a:ahLst/>
                  <a:cxnLst>
                    <a:cxn ang="0">
                      <a:pos x="connsiteX0" y="connsiteY0"/>
                    </a:cxn>
                    <a:cxn ang="0">
                      <a:pos x="connsiteX1" y="connsiteY1"/>
                    </a:cxn>
                  </a:cxnLst>
                  <a:rect l="l" t="t" r="r" b="b"/>
                  <a:pathLst>
                    <a:path w="64674" h="9525">
                      <a:moveTo>
                        <a:pt x="64675" y="0"/>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7" name="Freeform: Shape 136">
                  <a:extLst>
                    <a:ext uri="{FF2B5EF4-FFF2-40B4-BE49-F238E27FC236}">
                      <a16:creationId xmlns:a16="http://schemas.microsoft.com/office/drawing/2014/main" id="{805D530C-C772-4316-B915-B1BABBBF6D01}"/>
                    </a:ext>
                  </a:extLst>
                </p:cNvPr>
                <p:cNvSpPr/>
                <p:nvPr/>
              </p:nvSpPr>
              <p:spPr>
                <a:xfrm>
                  <a:off x="5908054" y="3338670"/>
                  <a:ext cx="104156" cy="9525"/>
                </a:xfrm>
                <a:custGeom>
                  <a:avLst/>
                  <a:gdLst>
                    <a:gd name="connsiteX0" fmla="*/ 104157 w 104156"/>
                    <a:gd name="connsiteY0" fmla="*/ 0 h 9525"/>
                    <a:gd name="connsiteX1" fmla="*/ 49 w 104156"/>
                    <a:gd name="connsiteY1" fmla="*/ 0 h 9525"/>
                  </a:gdLst>
                  <a:ahLst/>
                  <a:cxnLst>
                    <a:cxn ang="0">
                      <a:pos x="connsiteX0" y="connsiteY0"/>
                    </a:cxn>
                    <a:cxn ang="0">
                      <a:pos x="connsiteX1" y="connsiteY1"/>
                    </a:cxn>
                  </a:cxnLst>
                  <a:rect l="l" t="t" r="r" b="b"/>
                  <a:pathLst>
                    <a:path w="104156" h="9525">
                      <a:moveTo>
                        <a:pt x="104157" y="0"/>
                      </a:moveTo>
                      <a:cubicBezTo>
                        <a:pt x="-5571" y="0"/>
                        <a:pt x="49" y="0"/>
                        <a:pt x="4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8" name="Freeform: Shape 137">
                  <a:extLst>
                    <a:ext uri="{FF2B5EF4-FFF2-40B4-BE49-F238E27FC236}">
                      <a16:creationId xmlns:a16="http://schemas.microsoft.com/office/drawing/2014/main" id="{63332666-EA2A-4A99-BCD2-AA4D86909AA7}"/>
                    </a:ext>
                  </a:extLst>
                </p:cNvPr>
                <p:cNvSpPr/>
                <p:nvPr/>
              </p:nvSpPr>
              <p:spPr>
                <a:xfrm>
                  <a:off x="5961368" y="3405155"/>
                  <a:ext cx="47985" cy="9525"/>
                </a:xfrm>
                <a:custGeom>
                  <a:avLst/>
                  <a:gdLst>
                    <a:gd name="connsiteX0" fmla="*/ 47985 w 47985"/>
                    <a:gd name="connsiteY0" fmla="*/ 0 h 9525"/>
                    <a:gd name="connsiteX1" fmla="*/ 170 w 47985"/>
                    <a:gd name="connsiteY1" fmla="*/ 0 h 9525"/>
                  </a:gdLst>
                  <a:ahLst/>
                  <a:cxnLst>
                    <a:cxn ang="0">
                      <a:pos x="connsiteX0" y="connsiteY0"/>
                    </a:cxn>
                    <a:cxn ang="0">
                      <a:pos x="connsiteX1" y="connsiteY1"/>
                    </a:cxn>
                  </a:cxnLst>
                  <a:rect l="l" t="t" r="r" b="b"/>
                  <a:pathLst>
                    <a:path w="47985" h="9525">
                      <a:moveTo>
                        <a:pt x="47985" y="0"/>
                      </a:moveTo>
                      <a:cubicBezTo>
                        <a:pt x="-5450" y="0"/>
                        <a:pt x="170" y="0"/>
                        <a:pt x="17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9" name="Freeform: Shape 138">
                  <a:extLst>
                    <a:ext uri="{FF2B5EF4-FFF2-40B4-BE49-F238E27FC236}">
                      <a16:creationId xmlns:a16="http://schemas.microsoft.com/office/drawing/2014/main" id="{0542054F-1B24-4CB9-B6CE-83DCC4898E25}"/>
                    </a:ext>
                  </a:extLst>
                </p:cNvPr>
                <p:cNvSpPr/>
                <p:nvPr/>
              </p:nvSpPr>
              <p:spPr>
                <a:xfrm>
                  <a:off x="5961368" y="3552411"/>
                  <a:ext cx="47985" cy="9525"/>
                </a:xfrm>
                <a:custGeom>
                  <a:avLst/>
                  <a:gdLst>
                    <a:gd name="connsiteX0" fmla="*/ 47985 w 47985"/>
                    <a:gd name="connsiteY0" fmla="*/ 0 h 9525"/>
                    <a:gd name="connsiteX1" fmla="*/ 170 w 47985"/>
                    <a:gd name="connsiteY1" fmla="*/ 0 h 9525"/>
                  </a:gdLst>
                  <a:ahLst/>
                  <a:cxnLst>
                    <a:cxn ang="0">
                      <a:pos x="connsiteX0" y="connsiteY0"/>
                    </a:cxn>
                    <a:cxn ang="0">
                      <a:pos x="connsiteX1" y="connsiteY1"/>
                    </a:cxn>
                  </a:cxnLst>
                  <a:rect l="l" t="t" r="r" b="b"/>
                  <a:pathLst>
                    <a:path w="47985" h="9525">
                      <a:moveTo>
                        <a:pt x="47985" y="0"/>
                      </a:moveTo>
                      <a:cubicBezTo>
                        <a:pt x="-5450" y="0"/>
                        <a:pt x="170" y="0"/>
                        <a:pt x="17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0" name="Freeform: Shape 139">
                  <a:extLst>
                    <a:ext uri="{FF2B5EF4-FFF2-40B4-BE49-F238E27FC236}">
                      <a16:creationId xmlns:a16="http://schemas.microsoft.com/office/drawing/2014/main" id="{9D2EBDAD-34DE-4AC5-9F34-E84B6A3CDD72}"/>
                    </a:ext>
                  </a:extLst>
                </p:cNvPr>
                <p:cNvSpPr/>
                <p:nvPr/>
              </p:nvSpPr>
              <p:spPr>
                <a:xfrm>
                  <a:off x="5961513" y="3618896"/>
                  <a:ext cx="50697" cy="9525"/>
                </a:xfrm>
                <a:custGeom>
                  <a:avLst/>
                  <a:gdLst>
                    <a:gd name="connsiteX0" fmla="*/ 50697 w 50697"/>
                    <a:gd name="connsiteY0" fmla="*/ 0 h 9525"/>
                    <a:gd name="connsiteX1" fmla="*/ 24 w 50697"/>
                    <a:gd name="connsiteY1" fmla="*/ 0 h 9525"/>
                  </a:gdLst>
                  <a:ahLst/>
                  <a:cxnLst>
                    <a:cxn ang="0">
                      <a:pos x="connsiteX0" y="connsiteY0"/>
                    </a:cxn>
                    <a:cxn ang="0">
                      <a:pos x="connsiteX1" y="connsiteY1"/>
                    </a:cxn>
                  </a:cxnLst>
                  <a:rect l="l" t="t" r="r" b="b"/>
                  <a:pathLst>
                    <a:path w="50697" h="9525">
                      <a:moveTo>
                        <a:pt x="50697" y="0"/>
                      </a:moveTo>
                      <a:cubicBezTo>
                        <a:pt x="-2738" y="0"/>
                        <a:pt x="24" y="0"/>
                        <a:pt x="2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1" name="Freeform: Shape 140">
                  <a:extLst>
                    <a:ext uri="{FF2B5EF4-FFF2-40B4-BE49-F238E27FC236}">
                      <a16:creationId xmlns:a16="http://schemas.microsoft.com/office/drawing/2014/main" id="{544CAC5D-596A-45A1-AA4E-026F949B2128}"/>
                    </a:ext>
                  </a:extLst>
                </p:cNvPr>
                <p:cNvSpPr/>
                <p:nvPr/>
              </p:nvSpPr>
              <p:spPr>
                <a:xfrm>
                  <a:off x="6079743" y="3685285"/>
                  <a:ext cx="9525" cy="66389"/>
                </a:xfrm>
                <a:custGeom>
                  <a:avLst/>
                  <a:gdLst>
                    <a:gd name="connsiteX0" fmla="*/ 0 w 9525"/>
                    <a:gd name="connsiteY0" fmla="*/ 0 h 66389"/>
                    <a:gd name="connsiteX1" fmla="*/ 0 w 9525"/>
                    <a:gd name="connsiteY1" fmla="*/ 66389 h 66389"/>
                  </a:gdLst>
                  <a:ahLst/>
                  <a:cxnLst>
                    <a:cxn ang="0">
                      <a:pos x="connsiteX0" y="connsiteY0"/>
                    </a:cxn>
                    <a:cxn ang="0">
                      <a:pos x="connsiteX1" y="connsiteY1"/>
                    </a:cxn>
                  </a:cxnLst>
                  <a:rect l="l" t="t" r="r" b="b"/>
                  <a:pathLst>
                    <a:path w="9525" h="66389">
                      <a:moveTo>
                        <a:pt x="0" y="0"/>
                      </a:moveTo>
                      <a:cubicBezTo>
                        <a:pt x="0" y="66389"/>
                        <a:pt x="0" y="66389"/>
                        <a:pt x="0" y="6638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2" name="Freeform: Shape 141">
                  <a:extLst>
                    <a:ext uri="{FF2B5EF4-FFF2-40B4-BE49-F238E27FC236}">
                      <a16:creationId xmlns:a16="http://schemas.microsoft.com/office/drawing/2014/main" id="{9544B0BF-7C53-4CF3-A656-E0EC930B8C83}"/>
                    </a:ext>
                  </a:extLst>
                </p:cNvPr>
                <p:cNvSpPr/>
                <p:nvPr/>
              </p:nvSpPr>
              <p:spPr>
                <a:xfrm>
                  <a:off x="6209188" y="3688238"/>
                  <a:ext cx="9525" cy="66389"/>
                </a:xfrm>
                <a:custGeom>
                  <a:avLst/>
                  <a:gdLst>
                    <a:gd name="connsiteX0" fmla="*/ 0 w 9525"/>
                    <a:gd name="connsiteY0" fmla="*/ 66389 h 66389"/>
                    <a:gd name="connsiteX1" fmla="*/ 0 w 9525"/>
                    <a:gd name="connsiteY1" fmla="*/ 0 h 66389"/>
                  </a:gdLst>
                  <a:ahLst/>
                  <a:cxnLst>
                    <a:cxn ang="0">
                      <a:pos x="connsiteX0" y="connsiteY0"/>
                    </a:cxn>
                    <a:cxn ang="0">
                      <a:pos x="connsiteX1" y="connsiteY1"/>
                    </a:cxn>
                  </a:cxnLst>
                  <a:rect l="l" t="t" r="r" b="b"/>
                  <a:pathLst>
                    <a:path w="9525" h="66389">
                      <a:moveTo>
                        <a:pt x="0" y="66389"/>
                      </a:moveTo>
                      <a:cubicBezTo>
                        <a:pt x="0" y="0"/>
                        <a:pt x="0" y="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3" name="Freeform: Shape 142">
                  <a:extLst>
                    <a:ext uri="{FF2B5EF4-FFF2-40B4-BE49-F238E27FC236}">
                      <a16:creationId xmlns:a16="http://schemas.microsoft.com/office/drawing/2014/main" id="{22037785-689B-4DD2-9808-7438D3A6532C}"/>
                    </a:ext>
                  </a:extLst>
                </p:cNvPr>
                <p:cNvSpPr/>
                <p:nvPr/>
              </p:nvSpPr>
              <p:spPr>
                <a:xfrm>
                  <a:off x="6276625" y="3685285"/>
                  <a:ext cx="9525" cy="66389"/>
                </a:xfrm>
                <a:custGeom>
                  <a:avLst/>
                  <a:gdLst>
                    <a:gd name="connsiteX0" fmla="*/ 0 w 9525"/>
                    <a:gd name="connsiteY0" fmla="*/ 0 h 66389"/>
                    <a:gd name="connsiteX1" fmla="*/ 0 w 9525"/>
                    <a:gd name="connsiteY1" fmla="*/ 66389 h 66389"/>
                  </a:gdLst>
                  <a:ahLst/>
                  <a:cxnLst>
                    <a:cxn ang="0">
                      <a:pos x="connsiteX0" y="connsiteY0"/>
                    </a:cxn>
                    <a:cxn ang="0">
                      <a:pos x="connsiteX1" y="connsiteY1"/>
                    </a:cxn>
                  </a:cxnLst>
                  <a:rect l="l" t="t" r="r" b="b"/>
                  <a:pathLst>
                    <a:path w="9525" h="66389">
                      <a:moveTo>
                        <a:pt x="0" y="0"/>
                      </a:moveTo>
                      <a:cubicBezTo>
                        <a:pt x="0" y="66389"/>
                        <a:pt x="0" y="66389"/>
                        <a:pt x="0" y="6638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4" name="Freeform: Shape 143">
                  <a:extLst>
                    <a:ext uri="{FF2B5EF4-FFF2-40B4-BE49-F238E27FC236}">
                      <a16:creationId xmlns:a16="http://schemas.microsoft.com/office/drawing/2014/main" id="{2F285A6D-3018-4F3E-8749-13ADE3A6C9E3}"/>
                    </a:ext>
                  </a:extLst>
                </p:cNvPr>
                <p:cNvSpPr/>
                <p:nvPr/>
              </p:nvSpPr>
              <p:spPr>
                <a:xfrm>
                  <a:off x="6349777" y="3685285"/>
                  <a:ext cx="9525" cy="158877"/>
                </a:xfrm>
                <a:custGeom>
                  <a:avLst/>
                  <a:gdLst>
                    <a:gd name="connsiteX0" fmla="*/ 0 w 9525"/>
                    <a:gd name="connsiteY0" fmla="*/ 0 h 158877"/>
                    <a:gd name="connsiteX1" fmla="*/ 0 w 9525"/>
                    <a:gd name="connsiteY1" fmla="*/ 158877 h 158877"/>
                  </a:gdLst>
                  <a:ahLst/>
                  <a:cxnLst>
                    <a:cxn ang="0">
                      <a:pos x="connsiteX0" y="connsiteY0"/>
                    </a:cxn>
                    <a:cxn ang="0">
                      <a:pos x="connsiteX1" y="connsiteY1"/>
                    </a:cxn>
                  </a:cxnLst>
                  <a:rect l="l" t="t" r="r" b="b"/>
                  <a:pathLst>
                    <a:path w="9525" h="158877">
                      <a:moveTo>
                        <a:pt x="0" y="0"/>
                      </a:moveTo>
                      <a:cubicBezTo>
                        <a:pt x="0" y="158877"/>
                        <a:pt x="0" y="158877"/>
                        <a:pt x="0" y="15887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5" name="Freeform: Shape 144">
                  <a:extLst>
                    <a:ext uri="{FF2B5EF4-FFF2-40B4-BE49-F238E27FC236}">
                      <a16:creationId xmlns:a16="http://schemas.microsoft.com/office/drawing/2014/main" id="{C6BD0D12-5D94-46AD-BF18-11F3AEA24CE9}"/>
                    </a:ext>
                  </a:extLst>
                </p:cNvPr>
                <p:cNvSpPr/>
                <p:nvPr/>
              </p:nvSpPr>
              <p:spPr>
                <a:xfrm>
                  <a:off x="6403307" y="3415251"/>
                  <a:ext cx="187642" cy="60483"/>
                </a:xfrm>
                <a:custGeom>
                  <a:avLst/>
                  <a:gdLst>
                    <a:gd name="connsiteX0" fmla="*/ 0 w 187642"/>
                    <a:gd name="connsiteY0" fmla="*/ 0 h 60483"/>
                    <a:gd name="connsiteX1" fmla="*/ 187642 w 187642"/>
                    <a:gd name="connsiteY1" fmla="*/ 0 h 60483"/>
                    <a:gd name="connsiteX2" fmla="*/ 187642 w 187642"/>
                    <a:gd name="connsiteY2" fmla="*/ 60484 h 60483"/>
                  </a:gdLst>
                  <a:ahLst/>
                  <a:cxnLst>
                    <a:cxn ang="0">
                      <a:pos x="connsiteX0" y="connsiteY0"/>
                    </a:cxn>
                    <a:cxn ang="0">
                      <a:pos x="connsiteX1" y="connsiteY1"/>
                    </a:cxn>
                    <a:cxn ang="0">
                      <a:pos x="connsiteX2" y="connsiteY2"/>
                    </a:cxn>
                  </a:cxnLst>
                  <a:rect l="l" t="t" r="r" b="b"/>
                  <a:pathLst>
                    <a:path w="187642" h="60483">
                      <a:moveTo>
                        <a:pt x="0" y="0"/>
                      </a:moveTo>
                      <a:lnTo>
                        <a:pt x="187642" y="0"/>
                      </a:lnTo>
                      <a:lnTo>
                        <a:pt x="187642" y="60484"/>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6" name="Freeform: Shape 145">
                  <a:extLst>
                    <a:ext uri="{FF2B5EF4-FFF2-40B4-BE49-F238E27FC236}">
                      <a16:creationId xmlns:a16="http://schemas.microsoft.com/office/drawing/2014/main" id="{7E88AB97-4533-4929-9778-618EA7D422E5}"/>
                    </a:ext>
                  </a:extLst>
                </p:cNvPr>
                <p:cNvSpPr/>
                <p:nvPr/>
              </p:nvSpPr>
              <p:spPr>
                <a:xfrm>
                  <a:off x="6354253" y="3126358"/>
                  <a:ext cx="78866" cy="137540"/>
                </a:xfrm>
                <a:custGeom>
                  <a:avLst/>
                  <a:gdLst>
                    <a:gd name="connsiteX0" fmla="*/ 0 w 78866"/>
                    <a:gd name="connsiteY0" fmla="*/ 137541 h 137540"/>
                    <a:gd name="connsiteX1" fmla="*/ 0 w 78866"/>
                    <a:gd name="connsiteY1" fmla="*/ 0 h 137540"/>
                    <a:gd name="connsiteX2" fmla="*/ 78867 w 78866"/>
                    <a:gd name="connsiteY2" fmla="*/ 0 h 137540"/>
                  </a:gdLst>
                  <a:ahLst/>
                  <a:cxnLst>
                    <a:cxn ang="0">
                      <a:pos x="connsiteX0" y="connsiteY0"/>
                    </a:cxn>
                    <a:cxn ang="0">
                      <a:pos x="connsiteX1" y="connsiteY1"/>
                    </a:cxn>
                    <a:cxn ang="0">
                      <a:pos x="connsiteX2" y="connsiteY2"/>
                    </a:cxn>
                  </a:cxnLst>
                  <a:rect l="l" t="t" r="r" b="b"/>
                  <a:pathLst>
                    <a:path w="78866" h="137540">
                      <a:moveTo>
                        <a:pt x="0" y="137541"/>
                      </a:moveTo>
                      <a:lnTo>
                        <a:pt x="0" y="0"/>
                      </a:lnTo>
                      <a:lnTo>
                        <a:pt x="78867"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7" name="Freeform: Shape 146">
                  <a:extLst>
                    <a:ext uri="{FF2B5EF4-FFF2-40B4-BE49-F238E27FC236}">
                      <a16:creationId xmlns:a16="http://schemas.microsoft.com/office/drawing/2014/main" id="{C763D8DF-4025-44F1-BBD7-20BB42A998CC}"/>
                    </a:ext>
                  </a:extLst>
                </p:cNvPr>
                <p:cNvSpPr/>
                <p:nvPr/>
              </p:nvSpPr>
              <p:spPr>
                <a:xfrm>
                  <a:off x="6062122" y="3687190"/>
                  <a:ext cx="81533" cy="165068"/>
                </a:xfrm>
                <a:custGeom>
                  <a:avLst/>
                  <a:gdLst>
                    <a:gd name="connsiteX0" fmla="*/ 81534 w 81533"/>
                    <a:gd name="connsiteY0" fmla="*/ 0 h 165068"/>
                    <a:gd name="connsiteX1" fmla="*/ 81534 w 81533"/>
                    <a:gd name="connsiteY1" fmla="*/ 165068 h 165068"/>
                    <a:gd name="connsiteX2" fmla="*/ 0 w 81533"/>
                    <a:gd name="connsiteY2" fmla="*/ 165068 h 165068"/>
                  </a:gdLst>
                  <a:ahLst/>
                  <a:cxnLst>
                    <a:cxn ang="0">
                      <a:pos x="connsiteX0" y="connsiteY0"/>
                    </a:cxn>
                    <a:cxn ang="0">
                      <a:pos x="connsiteX1" y="connsiteY1"/>
                    </a:cxn>
                    <a:cxn ang="0">
                      <a:pos x="connsiteX2" y="connsiteY2"/>
                    </a:cxn>
                  </a:cxnLst>
                  <a:rect l="l" t="t" r="r" b="b"/>
                  <a:pathLst>
                    <a:path w="81533" h="165068">
                      <a:moveTo>
                        <a:pt x="81534" y="0"/>
                      </a:moveTo>
                      <a:lnTo>
                        <a:pt x="81534" y="165068"/>
                      </a:lnTo>
                      <a:lnTo>
                        <a:pt x="0" y="16506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8" name="Freeform: Shape 147">
                  <a:extLst>
                    <a:ext uri="{FF2B5EF4-FFF2-40B4-BE49-F238E27FC236}">
                      <a16:creationId xmlns:a16="http://schemas.microsoft.com/office/drawing/2014/main" id="{FE210CD8-0462-4587-A7F5-54FAB5382BF0}"/>
                    </a:ext>
                  </a:extLst>
                </p:cNvPr>
                <p:cNvSpPr/>
                <p:nvPr/>
              </p:nvSpPr>
              <p:spPr>
                <a:xfrm>
                  <a:off x="5843142" y="3475735"/>
                  <a:ext cx="168783" cy="74866"/>
                </a:xfrm>
                <a:custGeom>
                  <a:avLst/>
                  <a:gdLst>
                    <a:gd name="connsiteX0" fmla="*/ 168783 w 168783"/>
                    <a:gd name="connsiteY0" fmla="*/ 0 h 74866"/>
                    <a:gd name="connsiteX1" fmla="*/ 0 w 168783"/>
                    <a:gd name="connsiteY1" fmla="*/ 0 h 74866"/>
                    <a:gd name="connsiteX2" fmla="*/ 0 w 168783"/>
                    <a:gd name="connsiteY2" fmla="*/ 74866 h 74866"/>
                  </a:gdLst>
                  <a:ahLst/>
                  <a:cxnLst>
                    <a:cxn ang="0">
                      <a:pos x="connsiteX0" y="connsiteY0"/>
                    </a:cxn>
                    <a:cxn ang="0">
                      <a:pos x="connsiteX1" y="connsiteY1"/>
                    </a:cxn>
                    <a:cxn ang="0">
                      <a:pos x="connsiteX2" y="connsiteY2"/>
                    </a:cxn>
                  </a:cxnLst>
                  <a:rect l="l" t="t" r="r" b="b"/>
                  <a:pathLst>
                    <a:path w="168783" h="74866">
                      <a:moveTo>
                        <a:pt x="168783" y="0"/>
                      </a:moveTo>
                      <a:lnTo>
                        <a:pt x="0" y="0"/>
                      </a:lnTo>
                      <a:lnTo>
                        <a:pt x="0" y="7486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9" name="Freeform: Shape 148">
                  <a:extLst>
                    <a:ext uri="{FF2B5EF4-FFF2-40B4-BE49-F238E27FC236}">
                      <a16:creationId xmlns:a16="http://schemas.microsoft.com/office/drawing/2014/main" id="{FF4DD1AC-4E56-465D-98B9-6A76F7320B05}"/>
                    </a:ext>
                  </a:extLst>
                </p:cNvPr>
                <p:cNvSpPr/>
                <p:nvPr/>
              </p:nvSpPr>
              <p:spPr>
                <a:xfrm>
                  <a:off x="5784944" y="3552411"/>
                  <a:ext cx="114109" cy="109727"/>
                </a:xfrm>
                <a:custGeom>
                  <a:avLst/>
                  <a:gdLst>
                    <a:gd name="connsiteX0" fmla="*/ 114110 w 114109"/>
                    <a:gd name="connsiteY0" fmla="*/ 54864 h 109727"/>
                    <a:gd name="connsiteX1" fmla="*/ 57055 w 114109"/>
                    <a:gd name="connsiteY1" fmla="*/ 109728 h 109727"/>
                    <a:gd name="connsiteX2" fmla="*/ 0 w 114109"/>
                    <a:gd name="connsiteY2" fmla="*/ 54864 h 109727"/>
                    <a:gd name="connsiteX3" fmla="*/ 57055 w 114109"/>
                    <a:gd name="connsiteY3" fmla="*/ 0 h 109727"/>
                    <a:gd name="connsiteX4" fmla="*/ 114110 w 114109"/>
                    <a:gd name="connsiteY4" fmla="*/ 54864 h 109727"/>
                    <a:gd name="connsiteX5" fmla="*/ 114110 w 114109"/>
                    <a:gd name="connsiteY5" fmla="*/ 54864 h 109727"/>
                    <a:gd name="connsiteX6" fmla="*/ 114110 w 114109"/>
                    <a:gd name="connsiteY6" fmla="*/ 54864 h 109727"/>
                    <a:gd name="connsiteX7" fmla="*/ 114110 w 114109"/>
                    <a:gd name="connsiteY7" fmla="*/ 54864 h 1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109" h="109727">
                      <a:moveTo>
                        <a:pt x="114110" y="54864"/>
                      </a:moveTo>
                      <a:cubicBezTo>
                        <a:pt x="114110" y="83725"/>
                        <a:pt x="88487" y="109728"/>
                        <a:pt x="57055" y="109728"/>
                      </a:cubicBezTo>
                      <a:cubicBezTo>
                        <a:pt x="25718" y="109728"/>
                        <a:pt x="0" y="86582"/>
                        <a:pt x="0" y="54864"/>
                      </a:cubicBezTo>
                      <a:cubicBezTo>
                        <a:pt x="0" y="26003"/>
                        <a:pt x="25718" y="0"/>
                        <a:pt x="57055" y="0"/>
                      </a:cubicBezTo>
                      <a:cubicBezTo>
                        <a:pt x="88487" y="0"/>
                        <a:pt x="114110" y="23146"/>
                        <a:pt x="114110" y="54864"/>
                      </a:cubicBezTo>
                      <a:lnTo>
                        <a:pt x="114110" y="54864"/>
                      </a:lnTo>
                      <a:lnTo>
                        <a:pt x="114110" y="54864"/>
                      </a:lnTo>
                      <a:lnTo>
                        <a:pt x="114110"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0" name="Freeform: Shape 149">
                  <a:extLst>
                    <a:ext uri="{FF2B5EF4-FFF2-40B4-BE49-F238E27FC236}">
                      <a16:creationId xmlns:a16="http://schemas.microsoft.com/office/drawing/2014/main" id="{049B5CD4-43BC-43F3-BD97-442666D1A53F}"/>
                    </a:ext>
                  </a:extLst>
                </p:cNvPr>
                <p:cNvSpPr/>
                <p:nvPr/>
              </p:nvSpPr>
              <p:spPr>
                <a:xfrm>
                  <a:off x="5951918" y="3797394"/>
                  <a:ext cx="108394" cy="109728"/>
                </a:xfrm>
                <a:custGeom>
                  <a:avLst/>
                  <a:gdLst>
                    <a:gd name="connsiteX0" fmla="*/ 108394 w 108394"/>
                    <a:gd name="connsiteY0" fmla="*/ 54864 h 109728"/>
                    <a:gd name="connsiteX1" fmla="*/ 54197 w 108394"/>
                    <a:gd name="connsiteY1" fmla="*/ 109728 h 109728"/>
                    <a:gd name="connsiteX2" fmla="*/ 0 w 108394"/>
                    <a:gd name="connsiteY2" fmla="*/ 54864 h 109728"/>
                    <a:gd name="connsiteX3" fmla="*/ 54197 w 108394"/>
                    <a:gd name="connsiteY3" fmla="*/ 0 h 109728"/>
                    <a:gd name="connsiteX4" fmla="*/ 108394 w 108394"/>
                    <a:gd name="connsiteY4" fmla="*/ 54864 h 109728"/>
                    <a:gd name="connsiteX5" fmla="*/ 108394 w 108394"/>
                    <a:gd name="connsiteY5" fmla="*/ 54864 h 109728"/>
                    <a:gd name="connsiteX6" fmla="*/ 108394 w 108394"/>
                    <a:gd name="connsiteY6" fmla="*/ 54864 h 109728"/>
                    <a:gd name="connsiteX7" fmla="*/ 108394 w 108394"/>
                    <a:gd name="connsiteY7" fmla="*/ 54864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4" h="109728">
                      <a:moveTo>
                        <a:pt x="108394" y="54864"/>
                      </a:moveTo>
                      <a:cubicBezTo>
                        <a:pt x="108394" y="83725"/>
                        <a:pt x="85534" y="109728"/>
                        <a:pt x="54197" y="109728"/>
                      </a:cubicBezTo>
                      <a:cubicBezTo>
                        <a:pt x="22860" y="109728"/>
                        <a:pt x="0" y="86582"/>
                        <a:pt x="0" y="54864"/>
                      </a:cubicBezTo>
                      <a:cubicBezTo>
                        <a:pt x="0" y="26003"/>
                        <a:pt x="22860" y="0"/>
                        <a:pt x="54197" y="0"/>
                      </a:cubicBezTo>
                      <a:cubicBezTo>
                        <a:pt x="85534" y="-95"/>
                        <a:pt x="108394" y="25908"/>
                        <a:pt x="108394" y="54864"/>
                      </a:cubicBezTo>
                      <a:lnTo>
                        <a:pt x="108394" y="54864"/>
                      </a:lnTo>
                      <a:lnTo>
                        <a:pt x="108394" y="54864"/>
                      </a:lnTo>
                      <a:lnTo>
                        <a:pt x="108394"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1" name="Freeform: Shape 150">
                  <a:extLst>
                    <a:ext uri="{FF2B5EF4-FFF2-40B4-BE49-F238E27FC236}">
                      <a16:creationId xmlns:a16="http://schemas.microsoft.com/office/drawing/2014/main" id="{373743B8-6087-4C88-8615-96064AC582E8}"/>
                    </a:ext>
                  </a:extLst>
                </p:cNvPr>
                <p:cNvSpPr/>
                <p:nvPr/>
              </p:nvSpPr>
              <p:spPr>
                <a:xfrm>
                  <a:off x="6295484" y="3849496"/>
                  <a:ext cx="108394" cy="109727"/>
                </a:xfrm>
                <a:custGeom>
                  <a:avLst/>
                  <a:gdLst>
                    <a:gd name="connsiteX0" fmla="*/ 108394 w 108394"/>
                    <a:gd name="connsiteY0" fmla="*/ 54864 h 109727"/>
                    <a:gd name="connsiteX1" fmla="*/ 54197 w 108394"/>
                    <a:gd name="connsiteY1" fmla="*/ 109728 h 109727"/>
                    <a:gd name="connsiteX2" fmla="*/ 0 w 108394"/>
                    <a:gd name="connsiteY2" fmla="*/ 54864 h 109727"/>
                    <a:gd name="connsiteX3" fmla="*/ 54197 w 108394"/>
                    <a:gd name="connsiteY3" fmla="*/ 0 h 109727"/>
                    <a:gd name="connsiteX4" fmla="*/ 108394 w 108394"/>
                    <a:gd name="connsiteY4" fmla="*/ 54864 h 109727"/>
                    <a:gd name="connsiteX5" fmla="*/ 108394 w 108394"/>
                    <a:gd name="connsiteY5" fmla="*/ 54864 h 109727"/>
                    <a:gd name="connsiteX6" fmla="*/ 108394 w 108394"/>
                    <a:gd name="connsiteY6" fmla="*/ 54864 h 109727"/>
                    <a:gd name="connsiteX7" fmla="*/ 108394 w 108394"/>
                    <a:gd name="connsiteY7" fmla="*/ 54864 h 1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4" h="109727">
                      <a:moveTo>
                        <a:pt x="108394" y="54864"/>
                      </a:moveTo>
                      <a:cubicBezTo>
                        <a:pt x="108394" y="83725"/>
                        <a:pt x="85534" y="109728"/>
                        <a:pt x="54197" y="109728"/>
                      </a:cubicBezTo>
                      <a:cubicBezTo>
                        <a:pt x="25718" y="109728"/>
                        <a:pt x="0" y="86582"/>
                        <a:pt x="0" y="54864"/>
                      </a:cubicBezTo>
                      <a:cubicBezTo>
                        <a:pt x="0" y="26003"/>
                        <a:pt x="22860" y="0"/>
                        <a:pt x="54197" y="0"/>
                      </a:cubicBezTo>
                      <a:cubicBezTo>
                        <a:pt x="85534" y="0"/>
                        <a:pt x="108394" y="26003"/>
                        <a:pt x="108394" y="54864"/>
                      </a:cubicBezTo>
                      <a:lnTo>
                        <a:pt x="108394" y="54864"/>
                      </a:lnTo>
                      <a:lnTo>
                        <a:pt x="108394" y="54864"/>
                      </a:lnTo>
                      <a:lnTo>
                        <a:pt x="108394"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2" name="Freeform: Shape 151">
                  <a:extLst>
                    <a:ext uri="{FF2B5EF4-FFF2-40B4-BE49-F238E27FC236}">
                      <a16:creationId xmlns:a16="http://schemas.microsoft.com/office/drawing/2014/main" id="{D15BDA03-BC89-4954-BBD1-D1C8D65FF196}"/>
                    </a:ext>
                  </a:extLst>
                </p:cNvPr>
                <p:cNvSpPr/>
                <p:nvPr/>
              </p:nvSpPr>
              <p:spPr>
                <a:xfrm>
                  <a:off x="6546278" y="3478212"/>
                  <a:ext cx="108394" cy="109728"/>
                </a:xfrm>
                <a:custGeom>
                  <a:avLst/>
                  <a:gdLst>
                    <a:gd name="connsiteX0" fmla="*/ 108394 w 108394"/>
                    <a:gd name="connsiteY0" fmla="*/ 54864 h 109728"/>
                    <a:gd name="connsiteX1" fmla="*/ 54197 w 108394"/>
                    <a:gd name="connsiteY1" fmla="*/ 109728 h 109728"/>
                    <a:gd name="connsiteX2" fmla="*/ 0 w 108394"/>
                    <a:gd name="connsiteY2" fmla="*/ 54864 h 109728"/>
                    <a:gd name="connsiteX3" fmla="*/ 54197 w 108394"/>
                    <a:gd name="connsiteY3" fmla="*/ 0 h 109728"/>
                    <a:gd name="connsiteX4" fmla="*/ 108394 w 108394"/>
                    <a:gd name="connsiteY4" fmla="*/ 54864 h 109728"/>
                    <a:gd name="connsiteX5" fmla="*/ 108394 w 108394"/>
                    <a:gd name="connsiteY5" fmla="*/ 54864 h 109728"/>
                    <a:gd name="connsiteX6" fmla="*/ 108394 w 108394"/>
                    <a:gd name="connsiteY6" fmla="*/ 54864 h 109728"/>
                    <a:gd name="connsiteX7" fmla="*/ 108394 w 108394"/>
                    <a:gd name="connsiteY7" fmla="*/ 54864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4" h="109728">
                      <a:moveTo>
                        <a:pt x="108394" y="54864"/>
                      </a:moveTo>
                      <a:cubicBezTo>
                        <a:pt x="108394" y="83725"/>
                        <a:pt x="85534" y="109728"/>
                        <a:pt x="54197" y="109728"/>
                      </a:cubicBezTo>
                      <a:cubicBezTo>
                        <a:pt x="25717" y="109728"/>
                        <a:pt x="0" y="86582"/>
                        <a:pt x="0" y="54864"/>
                      </a:cubicBezTo>
                      <a:cubicBezTo>
                        <a:pt x="0" y="26003"/>
                        <a:pt x="22860" y="0"/>
                        <a:pt x="54197" y="0"/>
                      </a:cubicBezTo>
                      <a:cubicBezTo>
                        <a:pt x="82677" y="0"/>
                        <a:pt x="108394" y="23050"/>
                        <a:pt x="108394" y="54864"/>
                      </a:cubicBezTo>
                      <a:lnTo>
                        <a:pt x="108394" y="54864"/>
                      </a:lnTo>
                      <a:lnTo>
                        <a:pt x="108394" y="54864"/>
                      </a:lnTo>
                      <a:lnTo>
                        <a:pt x="108394"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3" name="Freeform: Shape 152">
                  <a:extLst>
                    <a:ext uri="{FF2B5EF4-FFF2-40B4-BE49-F238E27FC236}">
                      <a16:creationId xmlns:a16="http://schemas.microsoft.com/office/drawing/2014/main" id="{23DF453C-9C57-4BDF-98A0-B708D16EF5F7}"/>
                    </a:ext>
                  </a:extLst>
                </p:cNvPr>
                <p:cNvSpPr/>
                <p:nvPr/>
              </p:nvSpPr>
              <p:spPr>
                <a:xfrm>
                  <a:off x="6435597" y="3071494"/>
                  <a:ext cx="108394" cy="109727"/>
                </a:xfrm>
                <a:custGeom>
                  <a:avLst/>
                  <a:gdLst>
                    <a:gd name="connsiteX0" fmla="*/ 108394 w 108394"/>
                    <a:gd name="connsiteY0" fmla="*/ 54864 h 109727"/>
                    <a:gd name="connsiteX1" fmla="*/ 54197 w 108394"/>
                    <a:gd name="connsiteY1" fmla="*/ 109728 h 109727"/>
                    <a:gd name="connsiteX2" fmla="*/ 0 w 108394"/>
                    <a:gd name="connsiteY2" fmla="*/ 54864 h 109727"/>
                    <a:gd name="connsiteX3" fmla="*/ 54197 w 108394"/>
                    <a:gd name="connsiteY3" fmla="*/ 0 h 109727"/>
                    <a:gd name="connsiteX4" fmla="*/ 108394 w 108394"/>
                    <a:gd name="connsiteY4" fmla="*/ 54864 h 109727"/>
                    <a:gd name="connsiteX5" fmla="*/ 108394 w 108394"/>
                    <a:gd name="connsiteY5" fmla="*/ 54864 h 109727"/>
                    <a:gd name="connsiteX6" fmla="*/ 108394 w 108394"/>
                    <a:gd name="connsiteY6" fmla="*/ 54864 h 109727"/>
                    <a:gd name="connsiteX7" fmla="*/ 108394 w 108394"/>
                    <a:gd name="connsiteY7" fmla="*/ 54864 h 10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94" h="109727">
                      <a:moveTo>
                        <a:pt x="108394" y="54864"/>
                      </a:moveTo>
                      <a:cubicBezTo>
                        <a:pt x="108394" y="83725"/>
                        <a:pt x="85535" y="109728"/>
                        <a:pt x="54197" y="109728"/>
                      </a:cubicBezTo>
                      <a:cubicBezTo>
                        <a:pt x="22860" y="109728"/>
                        <a:pt x="0" y="86582"/>
                        <a:pt x="0" y="54864"/>
                      </a:cubicBezTo>
                      <a:cubicBezTo>
                        <a:pt x="0" y="26003"/>
                        <a:pt x="22860" y="0"/>
                        <a:pt x="54197" y="0"/>
                      </a:cubicBezTo>
                      <a:cubicBezTo>
                        <a:pt x="85630" y="0"/>
                        <a:pt x="108394" y="26003"/>
                        <a:pt x="108394" y="54864"/>
                      </a:cubicBezTo>
                      <a:lnTo>
                        <a:pt x="108394" y="54864"/>
                      </a:lnTo>
                      <a:lnTo>
                        <a:pt x="108394" y="54864"/>
                      </a:lnTo>
                      <a:lnTo>
                        <a:pt x="108394"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4" name="Freeform: Shape 153">
                  <a:extLst>
                    <a:ext uri="{FF2B5EF4-FFF2-40B4-BE49-F238E27FC236}">
                      <a16:creationId xmlns:a16="http://schemas.microsoft.com/office/drawing/2014/main" id="{D0E4AF70-0363-43C0-8CB5-845D918E021D}"/>
                    </a:ext>
                  </a:extLst>
                </p:cNvPr>
                <p:cNvSpPr/>
                <p:nvPr/>
              </p:nvSpPr>
              <p:spPr>
                <a:xfrm>
                  <a:off x="6090215" y="3035488"/>
                  <a:ext cx="114109" cy="109729"/>
                </a:xfrm>
                <a:custGeom>
                  <a:avLst/>
                  <a:gdLst>
                    <a:gd name="connsiteX0" fmla="*/ 114109 w 114109"/>
                    <a:gd name="connsiteY0" fmla="*/ 54864 h 109728"/>
                    <a:gd name="connsiteX1" fmla="*/ 57055 w 114109"/>
                    <a:gd name="connsiteY1" fmla="*/ 109728 h 109728"/>
                    <a:gd name="connsiteX2" fmla="*/ 0 w 114109"/>
                    <a:gd name="connsiteY2" fmla="*/ 54864 h 109728"/>
                    <a:gd name="connsiteX3" fmla="*/ 57055 w 114109"/>
                    <a:gd name="connsiteY3" fmla="*/ 0 h 109728"/>
                    <a:gd name="connsiteX4" fmla="*/ 114109 w 114109"/>
                    <a:gd name="connsiteY4" fmla="*/ 54864 h 109728"/>
                    <a:gd name="connsiteX5" fmla="*/ 114109 w 114109"/>
                    <a:gd name="connsiteY5" fmla="*/ 54864 h 109728"/>
                    <a:gd name="connsiteX6" fmla="*/ 114109 w 114109"/>
                    <a:gd name="connsiteY6" fmla="*/ 54864 h 109728"/>
                    <a:gd name="connsiteX7" fmla="*/ 114109 w 114109"/>
                    <a:gd name="connsiteY7" fmla="*/ 54864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109" h="109728">
                      <a:moveTo>
                        <a:pt x="114109" y="54864"/>
                      </a:moveTo>
                      <a:cubicBezTo>
                        <a:pt x="114109" y="83725"/>
                        <a:pt x="88487" y="109728"/>
                        <a:pt x="57055" y="109728"/>
                      </a:cubicBezTo>
                      <a:cubicBezTo>
                        <a:pt x="25717" y="109728"/>
                        <a:pt x="0" y="86583"/>
                        <a:pt x="0" y="54864"/>
                      </a:cubicBezTo>
                      <a:cubicBezTo>
                        <a:pt x="0" y="26004"/>
                        <a:pt x="25717" y="0"/>
                        <a:pt x="57055" y="0"/>
                      </a:cubicBezTo>
                      <a:cubicBezTo>
                        <a:pt x="88392" y="-95"/>
                        <a:pt x="114109" y="25908"/>
                        <a:pt x="114109" y="54864"/>
                      </a:cubicBezTo>
                      <a:lnTo>
                        <a:pt x="114109" y="54864"/>
                      </a:lnTo>
                      <a:lnTo>
                        <a:pt x="114109" y="54864"/>
                      </a:lnTo>
                      <a:lnTo>
                        <a:pt x="114109"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5" name="Freeform: Shape 154">
                  <a:extLst>
                    <a:ext uri="{FF2B5EF4-FFF2-40B4-BE49-F238E27FC236}">
                      <a16:creationId xmlns:a16="http://schemas.microsoft.com/office/drawing/2014/main" id="{D88BE0E8-B958-4322-8E73-03EFF073C53A}"/>
                    </a:ext>
                  </a:extLst>
                </p:cNvPr>
                <p:cNvSpPr/>
                <p:nvPr/>
              </p:nvSpPr>
              <p:spPr>
                <a:xfrm>
                  <a:off x="5792469" y="3283806"/>
                  <a:ext cx="114109" cy="109728"/>
                </a:xfrm>
                <a:custGeom>
                  <a:avLst/>
                  <a:gdLst>
                    <a:gd name="connsiteX0" fmla="*/ 114110 w 114109"/>
                    <a:gd name="connsiteY0" fmla="*/ 54864 h 109728"/>
                    <a:gd name="connsiteX1" fmla="*/ 57055 w 114109"/>
                    <a:gd name="connsiteY1" fmla="*/ 109728 h 109728"/>
                    <a:gd name="connsiteX2" fmla="*/ 0 w 114109"/>
                    <a:gd name="connsiteY2" fmla="*/ 54864 h 109728"/>
                    <a:gd name="connsiteX3" fmla="*/ 57055 w 114109"/>
                    <a:gd name="connsiteY3" fmla="*/ 0 h 109728"/>
                    <a:gd name="connsiteX4" fmla="*/ 114110 w 114109"/>
                    <a:gd name="connsiteY4" fmla="*/ 54864 h 109728"/>
                    <a:gd name="connsiteX5" fmla="*/ 114110 w 114109"/>
                    <a:gd name="connsiteY5" fmla="*/ 54864 h 109728"/>
                    <a:gd name="connsiteX6" fmla="*/ 114110 w 114109"/>
                    <a:gd name="connsiteY6" fmla="*/ 54864 h 109728"/>
                    <a:gd name="connsiteX7" fmla="*/ 114110 w 114109"/>
                    <a:gd name="connsiteY7" fmla="*/ 54864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109" h="109728">
                      <a:moveTo>
                        <a:pt x="114110" y="54864"/>
                      </a:moveTo>
                      <a:cubicBezTo>
                        <a:pt x="114110" y="83725"/>
                        <a:pt x="88487" y="109728"/>
                        <a:pt x="57055" y="109728"/>
                      </a:cubicBezTo>
                      <a:cubicBezTo>
                        <a:pt x="25718" y="109728"/>
                        <a:pt x="0" y="86582"/>
                        <a:pt x="0" y="54864"/>
                      </a:cubicBezTo>
                      <a:cubicBezTo>
                        <a:pt x="0" y="26003"/>
                        <a:pt x="25718" y="0"/>
                        <a:pt x="57055" y="0"/>
                      </a:cubicBezTo>
                      <a:cubicBezTo>
                        <a:pt x="88487" y="0"/>
                        <a:pt x="114110" y="26003"/>
                        <a:pt x="114110" y="54864"/>
                      </a:cubicBezTo>
                      <a:lnTo>
                        <a:pt x="114110" y="54864"/>
                      </a:lnTo>
                      <a:lnTo>
                        <a:pt x="114110" y="54864"/>
                      </a:lnTo>
                      <a:lnTo>
                        <a:pt x="114110" y="548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6" name="Freeform: Shape 155">
                  <a:extLst>
                    <a:ext uri="{FF2B5EF4-FFF2-40B4-BE49-F238E27FC236}">
                      <a16:creationId xmlns:a16="http://schemas.microsoft.com/office/drawing/2014/main" id="{9E284E1C-BFDA-423C-A67A-0C8CC21DEFEA}"/>
                    </a:ext>
                  </a:extLst>
                </p:cNvPr>
                <p:cNvSpPr/>
                <p:nvPr/>
              </p:nvSpPr>
              <p:spPr>
                <a:xfrm>
                  <a:off x="6051168" y="3313334"/>
                  <a:ext cx="317563" cy="321564"/>
                </a:xfrm>
                <a:custGeom>
                  <a:avLst/>
                  <a:gdLst>
                    <a:gd name="connsiteX0" fmla="*/ 158782 w 317563"/>
                    <a:gd name="connsiteY0" fmla="*/ 321564 h 321564"/>
                    <a:gd name="connsiteX1" fmla="*/ 158782 w 317563"/>
                    <a:gd name="connsiteY1" fmla="*/ 321564 h 321564"/>
                    <a:gd name="connsiteX2" fmla="*/ 0 w 317563"/>
                    <a:gd name="connsiteY2" fmla="*/ 160782 h 321564"/>
                    <a:gd name="connsiteX3" fmla="*/ 0 w 317563"/>
                    <a:gd name="connsiteY3" fmla="*/ 160782 h 321564"/>
                    <a:gd name="connsiteX4" fmla="*/ 158782 w 317563"/>
                    <a:gd name="connsiteY4" fmla="*/ 0 h 321564"/>
                    <a:gd name="connsiteX5" fmla="*/ 158782 w 317563"/>
                    <a:gd name="connsiteY5" fmla="*/ 0 h 321564"/>
                    <a:gd name="connsiteX6" fmla="*/ 317564 w 317563"/>
                    <a:gd name="connsiteY6" fmla="*/ 160782 h 321564"/>
                    <a:gd name="connsiteX7" fmla="*/ 317564 w 317563"/>
                    <a:gd name="connsiteY7" fmla="*/ 160782 h 321564"/>
                    <a:gd name="connsiteX8" fmla="*/ 158782 w 317563"/>
                    <a:gd name="connsiteY8" fmla="*/ 321564 h 321564"/>
                    <a:gd name="connsiteX9" fmla="*/ 158782 w 317563"/>
                    <a:gd name="connsiteY9" fmla="*/ 321564 h 321564"/>
                    <a:gd name="connsiteX10" fmla="*/ 158782 w 317563"/>
                    <a:gd name="connsiteY10" fmla="*/ 321564 h 321564"/>
                    <a:gd name="connsiteX11" fmla="*/ 158782 w 317563"/>
                    <a:gd name="connsiteY11" fmla="*/ 321564 h 32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563" h="321564">
                      <a:moveTo>
                        <a:pt x="158782" y="321564"/>
                      </a:moveTo>
                      <a:lnTo>
                        <a:pt x="158782" y="321564"/>
                      </a:lnTo>
                      <a:cubicBezTo>
                        <a:pt x="72200" y="321564"/>
                        <a:pt x="0" y="248507"/>
                        <a:pt x="0" y="160782"/>
                      </a:cubicBezTo>
                      <a:lnTo>
                        <a:pt x="0" y="160782"/>
                      </a:lnTo>
                      <a:cubicBezTo>
                        <a:pt x="0" y="70199"/>
                        <a:pt x="69247" y="0"/>
                        <a:pt x="158782" y="0"/>
                      </a:cubicBezTo>
                      <a:lnTo>
                        <a:pt x="158782" y="0"/>
                      </a:lnTo>
                      <a:cubicBezTo>
                        <a:pt x="245364" y="0"/>
                        <a:pt x="317564" y="73057"/>
                        <a:pt x="317564" y="160782"/>
                      </a:cubicBezTo>
                      <a:lnTo>
                        <a:pt x="317564" y="160782"/>
                      </a:lnTo>
                      <a:cubicBezTo>
                        <a:pt x="317564" y="245555"/>
                        <a:pt x="245364" y="321564"/>
                        <a:pt x="158782" y="321564"/>
                      </a:cubicBezTo>
                      <a:lnTo>
                        <a:pt x="158782" y="321564"/>
                      </a:lnTo>
                      <a:lnTo>
                        <a:pt x="158782" y="321564"/>
                      </a:lnTo>
                      <a:lnTo>
                        <a:pt x="158782" y="32156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7" name="Freeform: Shape 156">
                  <a:extLst>
                    <a:ext uri="{FF2B5EF4-FFF2-40B4-BE49-F238E27FC236}">
                      <a16:creationId xmlns:a16="http://schemas.microsoft.com/office/drawing/2014/main" id="{CA6CDBD9-8F3C-4308-86F6-243DB5943F8C}"/>
                    </a:ext>
                  </a:extLst>
                </p:cNvPr>
                <p:cNvSpPr/>
                <p:nvPr/>
              </p:nvSpPr>
              <p:spPr>
                <a:xfrm>
                  <a:off x="6205759" y="3376389"/>
                  <a:ext cx="125920" cy="110299"/>
                </a:xfrm>
                <a:custGeom>
                  <a:avLst/>
                  <a:gdLst>
                    <a:gd name="connsiteX0" fmla="*/ 0 w 125920"/>
                    <a:gd name="connsiteY0" fmla="*/ 0 h 110299"/>
                    <a:gd name="connsiteX1" fmla="*/ 0 w 125920"/>
                    <a:gd name="connsiteY1" fmla="*/ 110299 h 110299"/>
                    <a:gd name="connsiteX2" fmla="*/ 125921 w 125920"/>
                    <a:gd name="connsiteY2" fmla="*/ 110299 h 110299"/>
                  </a:gdLst>
                  <a:ahLst/>
                  <a:cxnLst>
                    <a:cxn ang="0">
                      <a:pos x="connsiteX0" y="connsiteY0"/>
                    </a:cxn>
                    <a:cxn ang="0">
                      <a:pos x="connsiteX1" y="connsiteY1"/>
                    </a:cxn>
                    <a:cxn ang="0">
                      <a:pos x="connsiteX2" y="connsiteY2"/>
                    </a:cxn>
                  </a:cxnLst>
                  <a:rect l="l" t="t" r="r" b="b"/>
                  <a:pathLst>
                    <a:path w="125920" h="110299">
                      <a:moveTo>
                        <a:pt x="0" y="0"/>
                      </a:moveTo>
                      <a:lnTo>
                        <a:pt x="0" y="110299"/>
                      </a:lnTo>
                      <a:lnTo>
                        <a:pt x="125921" y="11029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sp>
        <p:nvSpPr>
          <p:cNvPr id="72" name="Freeform: Shape 13">
            <a:extLst>
              <a:ext uri="{FF2B5EF4-FFF2-40B4-BE49-F238E27FC236}">
                <a16:creationId xmlns:a16="http://schemas.microsoft.com/office/drawing/2014/main" id="{47A5F358-111C-3B47-ACC8-50856F564670}"/>
              </a:ext>
            </a:extLst>
          </p:cNvPr>
          <p:cNvSpPr/>
          <p:nvPr/>
        </p:nvSpPr>
        <p:spPr>
          <a:xfrm>
            <a:off x="4156208" y="4742496"/>
            <a:ext cx="2064525" cy="1254221"/>
          </a:xfrm>
          <a:custGeom>
            <a:avLst/>
            <a:gdLst>
              <a:gd name="connsiteX0" fmla="*/ 0 w 2320312"/>
              <a:gd name="connsiteY0" fmla="*/ 0 h 870117"/>
              <a:gd name="connsiteX1" fmla="*/ 2320312 w 2320312"/>
              <a:gd name="connsiteY1" fmla="*/ 0 h 870117"/>
              <a:gd name="connsiteX2" fmla="*/ 2320312 w 2320312"/>
              <a:gd name="connsiteY2" fmla="*/ 870117 h 870117"/>
              <a:gd name="connsiteX3" fmla="*/ 0 w 2320312"/>
              <a:gd name="connsiteY3" fmla="*/ 870117 h 870117"/>
              <a:gd name="connsiteX4" fmla="*/ 0 w 2320312"/>
              <a:gd name="connsiteY4" fmla="*/ 0 h 870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312" h="870117">
                <a:moveTo>
                  <a:pt x="0" y="0"/>
                </a:moveTo>
                <a:lnTo>
                  <a:pt x="2320312" y="0"/>
                </a:lnTo>
                <a:lnTo>
                  <a:pt x="2320312" y="870117"/>
                </a:lnTo>
                <a:lnTo>
                  <a:pt x="0" y="870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lvl="0" algn="ctr" defTabSz="622300">
              <a:spcBef>
                <a:spcPct val="0"/>
              </a:spcBef>
              <a:spcAft>
                <a:spcPct val="35000"/>
              </a:spcAft>
              <a:defRPr b="1"/>
            </a:pPr>
            <a:r>
              <a:rPr lang="en-US" sz="1200">
                <a:latin typeface="+mj-lt"/>
              </a:rPr>
              <a:t>Compatible with Windows 10 machines running 64-bit operating systems​</a:t>
            </a:r>
          </a:p>
          <a:p>
            <a:pPr lvl="0" algn="ctr" defTabSz="622300">
              <a:spcBef>
                <a:spcPct val="0"/>
              </a:spcBef>
              <a:spcAft>
                <a:spcPct val="35000"/>
              </a:spcAft>
              <a:defRPr b="1"/>
            </a:pPr>
            <a:r>
              <a:rPr lang="en-US" sz="1200">
                <a:latin typeface="+mj-lt"/>
              </a:rPr>
              <a:t>Based on the UI Automation framework​ and Image Recognition technologies</a:t>
            </a:r>
          </a:p>
        </p:txBody>
      </p:sp>
      <p:sp>
        <p:nvSpPr>
          <p:cNvPr id="73" name="Freeform: Shape 14">
            <a:extLst>
              <a:ext uri="{FF2B5EF4-FFF2-40B4-BE49-F238E27FC236}">
                <a16:creationId xmlns:a16="http://schemas.microsoft.com/office/drawing/2014/main" id="{43B11620-7016-DD49-BF3C-3BC17D364982}"/>
              </a:ext>
            </a:extLst>
          </p:cNvPr>
          <p:cNvSpPr/>
          <p:nvPr/>
        </p:nvSpPr>
        <p:spPr>
          <a:xfrm>
            <a:off x="6867169" y="4885859"/>
            <a:ext cx="2064525" cy="736150"/>
          </a:xfrm>
          <a:custGeom>
            <a:avLst/>
            <a:gdLst>
              <a:gd name="connsiteX0" fmla="*/ 0 w 2320312"/>
              <a:gd name="connsiteY0" fmla="*/ 0 h 870117"/>
              <a:gd name="connsiteX1" fmla="*/ 2320312 w 2320312"/>
              <a:gd name="connsiteY1" fmla="*/ 0 h 870117"/>
              <a:gd name="connsiteX2" fmla="*/ 2320312 w 2320312"/>
              <a:gd name="connsiteY2" fmla="*/ 870117 h 870117"/>
              <a:gd name="connsiteX3" fmla="*/ 0 w 2320312"/>
              <a:gd name="connsiteY3" fmla="*/ 870117 h 870117"/>
              <a:gd name="connsiteX4" fmla="*/ 0 w 2320312"/>
              <a:gd name="connsiteY4" fmla="*/ 0 h 870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312" h="870117">
                <a:moveTo>
                  <a:pt x="0" y="0"/>
                </a:moveTo>
                <a:lnTo>
                  <a:pt x="2320312" y="0"/>
                </a:lnTo>
                <a:lnTo>
                  <a:pt x="2320312" y="870117"/>
                </a:lnTo>
                <a:lnTo>
                  <a:pt x="0" y="870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lvl="0" algn="ctr" defTabSz="622300">
              <a:spcBef>
                <a:spcPct val="0"/>
              </a:spcBef>
              <a:spcAft>
                <a:spcPct val="35000"/>
              </a:spcAft>
              <a:defRPr b="1"/>
            </a:pPr>
            <a:r>
              <a:rPr lang="en-US" sz="1200">
                <a:latin typeface="+mj-lt"/>
              </a:rPr>
              <a:t>Runs on the latest versions of Microsoft Edge (Chromium) and Google Chrome​</a:t>
            </a:r>
          </a:p>
          <a:p>
            <a:pPr lvl="0" algn="ctr" defTabSz="622300">
              <a:spcBef>
                <a:spcPct val="0"/>
              </a:spcBef>
              <a:spcAft>
                <a:spcPct val="35000"/>
              </a:spcAft>
              <a:defRPr b="1"/>
            </a:pPr>
            <a:r>
              <a:rPr lang="en-US" sz="1200">
                <a:latin typeface="+mj-lt"/>
              </a:rPr>
              <a:t>Based on Selenium​</a:t>
            </a:r>
          </a:p>
        </p:txBody>
      </p:sp>
      <p:grpSp>
        <p:nvGrpSpPr>
          <p:cNvPr id="6" name="Group 5">
            <a:extLst>
              <a:ext uri="{FF2B5EF4-FFF2-40B4-BE49-F238E27FC236}">
                <a16:creationId xmlns:a16="http://schemas.microsoft.com/office/drawing/2014/main" id="{282A4BE2-4513-3F42-9A5F-FE70B5AC5429}"/>
              </a:ext>
            </a:extLst>
          </p:cNvPr>
          <p:cNvGrpSpPr/>
          <p:nvPr/>
        </p:nvGrpSpPr>
        <p:grpSpPr>
          <a:xfrm>
            <a:off x="9251981" y="2461393"/>
            <a:ext cx="2384813" cy="4058136"/>
            <a:chOff x="9251981" y="2461393"/>
            <a:chExt cx="2384813" cy="4058136"/>
          </a:xfrm>
        </p:grpSpPr>
        <p:cxnSp>
          <p:nvCxnSpPr>
            <p:cNvPr id="89" name="Straight Connector 88">
              <a:extLst>
                <a:ext uri="{FF2B5EF4-FFF2-40B4-BE49-F238E27FC236}">
                  <a16:creationId xmlns:a16="http://schemas.microsoft.com/office/drawing/2014/main" id="{CFAB2413-3A50-4617-8A03-7118CCA3A3AC}"/>
                </a:ext>
              </a:extLst>
            </p:cNvPr>
            <p:cNvCxnSpPr>
              <a:cxnSpLocks/>
            </p:cNvCxnSpPr>
            <p:nvPr/>
          </p:nvCxnSpPr>
          <p:spPr>
            <a:xfrm>
              <a:off x="9251981" y="3923731"/>
              <a:ext cx="0" cy="2595798"/>
            </a:xfrm>
            <a:prstGeom prst="line">
              <a:avLst/>
            </a:prstGeom>
            <a:ln w="635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C3201B45-E2E5-474F-85DE-D60DD54C3721}"/>
                </a:ext>
              </a:extLst>
            </p:cNvPr>
            <p:cNvSpPr/>
            <p:nvPr/>
          </p:nvSpPr>
          <p:spPr bwMode="auto">
            <a:xfrm>
              <a:off x="9595456" y="3683011"/>
              <a:ext cx="1981140" cy="1092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err="1">
                  <a:solidFill>
                    <a:schemeClr val="accent1"/>
                  </a:solidFill>
                  <a:latin typeface="+mj-lt"/>
                  <a:ea typeface="Segoe UI" pitchFamily="34" charset="0"/>
                  <a:cs typeface="Segoe UI" pitchFamily="34" charset="0"/>
                </a:rPr>
                <a:t>WinAutomation</a:t>
              </a:r>
              <a:endParaRPr lang="en-IN" sz="2000">
                <a:solidFill>
                  <a:schemeClr val="accent1"/>
                </a:solidFill>
                <a:latin typeface="+mj-lt"/>
                <a:ea typeface="Segoe UI" pitchFamily="34" charset="0"/>
                <a:cs typeface="Segoe UI" pitchFamily="34" charset="0"/>
              </a:endParaRPr>
            </a:p>
          </p:txBody>
        </p:sp>
        <p:sp>
          <p:nvSpPr>
            <p:cNvPr id="118" name="Diamond 117">
              <a:extLst>
                <a:ext uri="{FF2B5EF4-FFF2-40B4-BE49-F238E27FC236}">
                  <a16:creationId xmlns:a16="http://schemas.microsoft.com/office/drawing/2014/main" id="{66049D51-9146-4EF6-B9F4-49B67318704D}"/>
                </a:ext>
              </a:extLst>
            </p:cNvPr>
            <p:cNvSpPr/>
            <p:nvPr/>
          </p:nvSpPr>
          <p:spPr bwMode="auto">
            <a:xfrm rot="16200000">
              <a:off x="10049046" y="2461393"/>
              <a:ext cx="1110970" cy="1110970"/>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158" name="document_6" title="Icon of a document with a padlock in the lower right corner">
              <a:extLst>
                <a:ext uri="{FF2B5EF4-FFF2-40B4-BE49-F238E27FC236}">
                  <a16:creationId xmlns:a16="http://schemas.microsoft.com/office/drawing/2014/main" id="{C10FAD2B-4B81-4BB2-92D8-B017230C01D9}"/>
                </a:ext>
              </a:extLst>
            </p:cNvPr>
            <p:cNvSpPr>
              <a:spLocks noChangeAspect="1" noEditPoints="1"/>
            </p:cNvSpPr>
            <p:nvPr/>
          </p:nvSpPr>
          <p:spPr bwMode="auto">
            <a:xfrm>
              <a:off x="10453573" y="2800350"/>
              <a:ext cx="301916" cy="37739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Freeform: Shape 15">
              <a:extLst>
                <a:ext uri="{FF2B5EF4-FFF2-40B4-BE49-F238E27FC236}">
                  <a16:creationId xmlns:a16="http://schemas.microsoft.com/office/drawing/2014/main" id="{3DD8D2F5-1AA0-0844-94DC-C4E66103BEBF}"/>
                </a:ext>
              </a:extLst>
            </p:cNvPr>
            <p:cNvSpPr/>
            <p:nvPr/>
          </p:nvSpPr>
          <p:spPr>
            <a:xfrm>
              <a:off x="9572269" y="4824829"/>
              <a:ext cx="2064525" cy="1092200"/>
            </a:xfrm>
            <a:custGeom>
              <a:avLst/>
              <a:gdLst>
                <a:gd name="connsiteX0" fmla="*/ 0 w 2320312"/>
                <a:gd name="connsiteY0" fmla="*/ 0 h 870117"/>
                <a:gd name="connsiteX1" fmla="*/ 2320312 w 2320312"/>
                <a:gd name="connsiteY1" fmla="*/ 0 h 870117"/>
                <a:gd name="connsiteX2" fmla="*/ 2320312 w 2320312"/>
                <a:gd name="connsiteY2" fmla="*/ 870117 h 870117"/>
                <a:gd name="connsiteX3" fmla="*/ 0 w 2320312"/>
                <a:gd name="connsiteY3" fmla="*/ 870117 h 870117"/>
                <a:gd name="connsiteX4" fmla="*/ 0 w 2320312"/>
                <a:gd name="connsiteY4" fmla="*/ 0 h 870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312" h="870117">
                  <a:moveTo>
                    <a:pt x="0" y="0"/>
                  </a:moveTo>
                  <a:lnTo>
                    <a:pt x="2320312" y="0"/>
                  </a:lnTo>
                  <a:lnTo>
                    <a:pt x="2320312" y="870117"/>
                  </a:lnTo>
                  <a:lnTo>
                    <a:pt x="0" y="870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lvl="0" algn="ctr" defTabSz="622300">
                <a:spcBef>
                  <a:spcPct val="0"/>
                </a:spcBef>
                <a:spcAft>
                  <a:spcPct val="35000"/>
                </a:spcAft>
                <a:defRPr b="1"/>
              </a:pPr>
              <a:r>
                <a:rPr lang="en-US" sz="1200">
                  <a:latin typeface="+mj-lt"/>
                </a:rPr>
                <a:t>Now available!</a:t>
              </a:r>
            </a:p>
            <a:p>
              <a:pPr lvl="0" algn="ctr" defTabSz="622300">
                <a:spcBef>
                  <a:spcPct val="0"/>
                </a:spcBef>
                <a:spcAft>
                  <a:spcPct val="35000"/>
                </a:spcAft>
                <a:defRPr b="1"/>
              </a:pPr>
              <a:r>
                <a:rPr lang="en-US" sz="1200">
                  <a:latin typeface="+mj-lt"/>
                </a:rPr>
                <a:t>Low code development environment </a:t>
              </a:r>
            </a:p>
            <a:p>
              <a:pPr lvl="0" algn="ctr" defTabSz="622300">
                <a:spcBef>
                  <a:spcPct val="0"/>
                </a:spcBef>
                <a:spcAft>
                  <a:spcPct val="35000"/>
                </a:spcAft>
                <a:defRPr b="1"/>
              </a:pPr>
              <a:r>
                <a:rPr lang="en-US" sz="1200">
                  <a:latin typeface="+mj-lt"/>
                </a:rPr>
                <a:t>Diverse set of connectors to many different systems</a:t>
              </a:r>
            </a:p>
          </p:txBody>
        </p:sp>
        <p:sp>
          <p:nvSpPr>
            <p:cNvPr id="2" name="Rectangle 1">
              <a:extLst>
                <a:ext uri="{FF2B5EF4-FFF2-40B4-BE49-F238E27FC236}">
                  <a16:creationId xmlns:a16="http://schemas.microsoft.com/office/drawing/2014/main" id="{9AB61E5C-87D8-410C-8B24-61DA88B1A4C4}"/>
                </a:ext>
              </a:extLst>
            </p:cNvPr>
            <p:cNvSpPr/>
            <p:nvPr/>
          </p:nvSpPr>
          <p:spPr bwMode="auto">
            <a:xfrm>
              <a:off x="10388662" y="2745940"/>
              <a:ext cx="425388" cy="5067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9218" name="Picture 2" descr="WinAutomation Logo">
              <a:extLst>
                <a:ext uri="{FF2B5EF4-FFF2-40B4-BE49-F238E27FC236}">
                  <a16:creationId xmlns:a16="http://schemas.microsoft.com/office/drawing/2014/main" id="{F0590B7C-1410-4506-8F94-F64A274422EF}"/>
                </a:ext>
              </a:extLst>
            </p:cNvPr>
            <p:cNvPicPr>
              <a:picLocks noChangeAspect="1" noChangeArrowheads="1"/>
            </p:cNvPicPr>
            <p:nvPr/>
          </p:nvPicPr>
          <p:blipFill rotWithShape="1">
            <a:blip r:embed="rId8">
              <a:duotone>
                <a:prstClr val="black"/>
                <a:schemeClr val="bg1">
                  <a:tint val="45000"/>
                  <a:satMod val="400000"/>
                </a:schemeClr>
              </a:duotone>
              <a:extLst>
                <a:ext uri="{BEBA8EAE-BF5A-486C-A8C5-ECC9F3942E4B}">
                  <a14:imgProps xmlns:a14="http://schemas.microsoft.com/office/drawing/2010/main">
                    <a14:imgLayer r:embed="rId9">
                      <a14:imgEffect>
                        <a14:saturation sat="0"/>
                      </a14:imgEffect>
                      <a14:imgEffect>
                        <a14:brightnessContrast bright="100000" contrast="37000"/>
                      </a14:imgEffect>
                    </a14:imgLayer>
                  </a14:imgProps>
                </a:ext>
                <a:ext uri="{28A0092B-C50C-407E-A947-70E740481C1C}">
                  <a14:useLocalDpi xmlns:a14="http://schemas.microsoft.com/office/drawing/2010/main" val="0"/>
                </a:ext>
              </a:extLst>
            </a:blip>
            <a:srcRect r="79381"/>
            <a:stretch/>
          </p:blipFill>
          <p:spPr bwMode="auto">
            <a:xfrm>
              <a:off x="10408112" y="2783761"/>
              <a:ext cx="463488" cy="428625"/>
            </a:xfrm>
            <a:prstGeom prst="rect">
              <a:avLst/>
            </a:prstGeom>
            <a:noFill/>
          </p:spPr>
        </p:pic>
      </p:grpSp>
      <p:sp>
        <p:nvSpPr>
          <p:cNvPr id="3" name="Title 2">
            <a:extLst>
              <a:ext uri="{FF2B5EF4-FFF2-40B4-BE49-F238E27FC236}">
                <a16:creationId xmlns:a16="http://schemas.microsoft.com/office/drawing/2014/main" id="{C3E01F39-C4F6-4AEE-BC13-7EC4D2674327}"/>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F809FCEC-3EE5-4A55-ABB0-DEF402413798}"/>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29082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D958E-134C-419F-AC2C-037D159C8642}"/>
              </a:ext>
            </a:extLst>
          </p:cNvPr>
          <p:cNvSpPr>
            <a:spLocks noGrp="1"/>
          </p:cNvSpPr>
          <p:nvPr>
            <p:ph type="title"/>
          </p:nvPr>
        </p:nvSpPr>
        <p:spPr/>
        <p:txBody>
          <a:bodyPr/>
          <a:lstStyle/>
          <a:p>
            <a:r>
              <a:rPr lang="en-US" err="1"/>
              <a:t>WinAutomation</a:t>
            </a:r>
            <a:endParaRPr lang="en-US"/>
          </a:p>
        </p:txBody>
      </p:sp>
      <p:sp>
        <p:nvSpPr>
          <p:cNvPr id="8" name="Content Placeholder 7">
            <a:extLst>
              <a:ext uri="{FF2B5EF4-FFF2-40B4-BE49-F238E27FC236}">
                <a16:creationId xmlns:a16="http://schemas.microsoft.com/office/drawing/2014/main" id="{4E0A9655-4E85-4E5D-8DE8-82D6557E45DC}"/>
              </a:ext>
            </a:extLst>
          </p:cNvPr>
          <p:cNvSpPr>
            <a:spLocks noGrp="1"/>
          </p:cNvSpPr>
          <p:nvPr>
            <p:ph idx="1"/>
          </p:nvPr>
        </p:nvSpPr>
        <p:spPr/>
        <p:txBody>
          <a:bodyPr>
            <a:normAutofit/>
          </a:bodyPr>
          <a:lstStyle/>
          <a:p>
            <a:r>
              <a:rPr lang="en-US" sz="2400"/>
              <a:t>Leading low-code RPA offering, used by thousands of customers</a:t>
            </a:r>
          </a:p>
          <a:p>
            <a:endParaRPr lang="en-US" sz="2400"/>
          </a:p>
          <a:p>
            <a:r>
              <a:rPr lang="en-US" sz="2400"/>
              <a:t>Thousands of features built over the last 15 years, including:</a:t>
            </a:r>
          </a:p>
          <a:p>
            <a:pPr lvl="1"/>
            <a:r>
              <a:rPr lang="en-US" sz="2000"/>
              <a:t>Expanded UI automation support including legacy terminals, Java apps, Citrix, etc.</a:t>
            </a:r>
          </a:p>
          <a:p>
            <a:pPr lvl="1"/>
            <a:r>
              <a:rPr lang="en-US" sz="2000"/>
              <a:t>Parallel execution and multi-tasking on same machine</a:t>
            </a:r>
          </a:p>
          <a:p>
            <a:pPr lvl="1"/>
            <a:r>
              <a:rPr lang="en-US" sz="2000"/>
              <a:t>Intelligent data extraction from multiple webpages</a:t>
            </a:r>
          </a:p>
          <a:p>
            <a:endParaRPr lang="en-US" sz="2400"/>
          </a:p>
          <a:p>
            <a:r>
              <a:rPr lang="en-US" sz="2400"/>
              <a:t>Available to Power Automate RPA customers today at no added cost (</a:t>
            </a:r>
            <a:r>
              <a:rPr lang="en-US" sz="2400">
                <a:hlinkClick r:id="rId2"/>
              </a:rPr>
              <a:t>https://aka.ms/RPAbuild2020</a:t>
            </a:r>
            <a:r>
              <a:rPr lang="en-US" sz="2400"/>
              <a:t>) </a:t>
            </a:r>
          </a:p>
          <a:p>
            <a:endParaRPr lang="en-US" sz="2400"/>
          </a:p>
        </p:txBody>
      </p:sp>
      <p:pic>
        <p:nvPicPr>
          <p:cNvPr id="12" name="Content Placeholder 11" descr="A screenshot of a social media post&#10;&#10;Description automatically generated">
            <a:extLst>
              <a:ext uri="{FF2B5EF4-FFF2-40B4-BE49-F238E27FC236}">
                <a16:creationId xmlns:a16="http://schemas.microsoft.com/office/drawing/2014/main" id="{07E9A5E4-102D-4AE0-8C52-611156A44D38}"/>
              </a:ext>
            </a:extLst>
          </p:cNvPr>
          <p:cNvPicPr>
            <a:picLocks noGrp="1" noChangeAspect="1"/>
          </p:cNvPicPr>
          <p:nvPr>
            <p:ph sz="quarter" idx="4294967295"/>
          </p:nvPr>
        </p:nvPicPr>
        <p:blipFill rotWithShape="1">
          <a:blip r:embed="rId3"/>
          <a:srcRect b="67547"/>
          <a:stretch/>
        </p:blipFill>
        <p:spPr>
          <a:xfrm>
            <a:off x="0" y="5546725"/>
            <a:ext cx="6875463" cy="1311275"/>
          </a:xfrm>
        </p:spPr>
      </p:pic>
    </p:spTree>
    <p:extLst>
      <p:ext uri="{BB962C8B-B14F-4D97-AF65-F5344CB8AC3E}">
        <p14:creationId xmlns:p14="http://schemas.microsoft.com/office/powerpoint/2010/main" val="292530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ke back your time!</a:t>
            </a:r>
          </a:p>
        </p:txBody>
      </p:sp>
      <p:graphicFrame>
        <p:nvGraphicFramePr>
          <p:cNvPr id="9" name="Text Placeholder 2">
            <a:extLst>
              <a:ext uri="{FF2B5EF4-FFF2-40B4-BE49-F238E27FC236}">
                <a16:creationId xmlns:a16="http://schemas.microsoft.com/office/drawing/2014/main" id="{656B2E98-E922-470E-85A5-4A5392B97242}"/>
              </a:ext>
            </a:extLst>
          </p:cNvPr>
          <p:cNvGraphicFramePr>
            <a:graphicFrameLocks noGrp="1"/>
          </p:cNvGraphicFramePr>
          <p:nvPr>
            <p:ph idx="1"/>
            <p:extLst>
              <p:ext uri="{D42A27DB-BD31-4B8C-83A1-F6EECF244321}">
                <p14:modId xmlns:p14="http://schemas.microsoft.com/office/powerpoint/2010/main" val="1304410022"/>
              </p:ext>
            </p:extLst>
          </p:nvPr>
        </p:nvGraphicFramePr>
        <p:xfrm>
          <a:off x="252413" y="1098550"/>
          <a:ext cx="11818937" cy="5078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0221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A7ABEE0-75D2-B047-937B-41BDC56F794E}"/>
              </a:ext>
            </a:extLst>
          </p:cNvPr>
          <p:cNvSpPr>
            <a:spLocks noGrp="1"/>
          </p:cNvSpPr>
          <p:nvPr>
            <p:ph type="title"/>
          </p:nvPr>
        </p:nvSpPr>
        <p:spPr/>
        <p:txBody>
          <a:bodyPr>
            <a:normAutofit/>
          </a:bodyPr>
          <a:lstStyle/>
          <a:p>
            <a:r>
              <a:rPr lang="en-US" sz="4000"/>
              <a:t>The </a:t>
            </a:r>
            <a:r>
              <a:rPr lang="en-US" sz="4000" err="1"/>
              <a:t>WinAutomation</a:t>
            </a:r>
            <a:r>
              <a:rPr lang="en-US" sz="4000"/>
              <a:t> Development Environment</a:t>
            </a:r>
          </a:p>
        </p:txBody>
      </p:sp>
      <p:sp>
        <p:nvSpPr>
          <p:cNvPr id="2" name="Content Placeholder 1">
            <a:extLst>
              <a:ext uri="{FF2B5EF4-FFF2-40B4-BE49-F238E27FC236}">
                <a16:creationId xmlns:a16="http://schemas.microsoft.com/office/drawing/2014/main" id="{483FF252-7475-4B06-889F-D6AD0EEA864B}"/>
              </a:ext>
            </a:extLst>
          </p:cNvPr>
          <p:cNvSpPr>
            <a:spLocks noGrp="1"/>
          </p:cNvSpPr>
          <p:nvPr>
            <p:ph idx="1"/>
          </p:nvPr>
        </p:nvSpPr>
        <p:spPr/>
        <p:txBody>
          <a:bodyPr/>
          <a:lstStyle/>
          <a:p>
            <a:endParaRPr lang="nl-NL"/>
          </a:p>
        </p:txBody>
      </p:sp>
      <p:pic>
        <p:nvPicPr>
          <p:cNvPr id="11" name="Picture 10">
            <a:extLst>
              <a:ext uri="{FF2B5EF4-FFF2-40B4-BE49-F238E27FC236}">
                <a16:creationId xmlns:a16="http://schemas.microsoft.com/office/drawing/2014/main" id="{5B9E2C91-2A7D-9E42-8299-3FA21D07BE8A}"/>
              </a:ext>
            </a:extLst>
          </p:cNvPr>
          <p:cNvPicPr>
            <a:picLocks noChangeAspect="1"/>
          </p:cNvPicPr>
          <p:nvPr/>
        </p:nvPicPr>
        <p:blipFill>
          <a:blip r:embed="rId2"/>
          <a:stretch>
            <a:fillRect/>
          </a:stretch>
        </p:blipFill>
        <p:spPr>
          <a:xfrm>
            <a:off x="2808442" y="1575133"/>
            <a:ext cx="6575116" cy="4564410"/>
          </a:xfrm>
          <a:prstGeom prst="rect">
            <a:avLst/>
          </a:prstGeom>
        </p:spPr>
      </p:pic>
      <p:sp>
        <p:nvSpPr>
          <p:cNvPr id="13" name="Right Arrow Callout 12">
            <a:extLst>
              <a:ext uri="{FF2B5EF4-FFF2-40B4-BE49-F238E27FC236}">
                <a16:creationId xmlns:a16="http://schemas.microsoft.com/office/drawing/2014/main" id="{E60B25E8-E973-2142-BD09-80AA000E4349}"/>
              </a:ext>
            </a:extLst>
          </p:cNvPr>
          <p:cNvSpPr/>
          <p:nvPr/>
        </p:nvSpPr>
        <p:spPr bwMode="auto">
          <a:xfrm>
            <a:off x="307075" y="3974910"/>
            <a:ext cx="2763672" cy="2788944"/>
          </a:xfrm>
          <a:prstGeom prst="rightArrowCallout">
            <a:avLst>
              <a:gd name="adj1" fmla="val 8959"/>
              <a:gd name="adj2" fmla="val 8915"/>
              <a:gd name="adj3" fmla="val 13737"/>
              <a:gd name="adj4" fmla="val 7348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a:solidFill>
                  <a:schemeClr val="tx1"/>
                </a:solidFill>
              </a:rPr>
              <a:t>Action library everything from file manipulation to terminal emulation, and security features like CyberArk</a:t>
            </a:r>
            <a:endParaRPr lang="en-US" sz="1800">
              <a:solidFill>
                <a:schemeClr val="tx1"/>
              </a:solidFill>
              <a:ea typeface="Segoe UI" pitchFamily="34" charset="0"/>
              <a:cs typeface="Segoe UI" pitchFamily="34" charset="0"/>
            </a:endParaRPr>
          </a:p>
        </p:txBody>
      </p:sp>
      <p:sp>
        <p:nvSpPr>
          <p:cNvPr id="15" name="Right Arrow Callout 14">
            <a:extLst>
              <a:ext uri="{FF2B5EF4-FFF2-40B4-BE49-F238E27FC236}">
                <a16:creationId xmlns:a16="http://schemas.microsoft.com/office/drawing/2014/main" id="{21D50D77-24A4-1A43-A194-D3A249ED95FE}"/>
              </a:ext>
            </a:extLst>
          </p:cNvPr>
          <p:cNvSpPr/>
          <p:nvPr/>
        </p:nvSpPr>
        <p:spPr bwMode="auto">
          <a:xfrm>
            <a:off x="307074" y="1484194"/>
            <a:ext cx="4469641" cy="2248469"/>
          </a:xfrm>
          <a:prstGeom prst="rightArrowCallout">
            <a:avLst>
              <a:gd name="adj1" fmla="val 8959"/>
              <a:gd name="adj2" fmla="val 8915"/>
              <a:gd name="adj3" fmla="val 13737"/>
              <a:gd name="adj4" fmla="val 45854"/>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800">
                <a:solidFill>
                  <a:srgbClr val="000000"/>
                </a:solidFill>
                <a:ea typeface="Segoe UI" pitchFamily="34" charset="0"/>
                <a:cs typeface="Segoe UI" pitchFamily="34" charset="0"/>
              </a:rPr>
              <a:t>Low-code canvas where you can drag-and-drop to build the logic you need for your automation</a:t>
            </a:r>
          </a:p>
        </p:txBody>
      </p:sp>
      <p:sp>
        <p:nvSpPr>
          <p:cNvPr id="17" name="Left Arrow Callout 16">
            <a:extLst>
              <a:ext uri="{FF2B5EF4-FFF2-40B4-BE49-F238E27FC236}">
                <a16:creationId xmlns:a16="http://schemas.microsoft.com/office/drawing/2014/main" id="{4D82468C-BA10-EB49-95CC-CD2D3FC33EC1}"/>
              </a:ext>
            </a:extLst>
          </p:cNvPr>
          <p:cNvSpPr/>
          <p:nvPr/>
        </p:nvSpPr>
        <p:spPr bwMode="auto">
          <a:xfrm>
            <a:off x="8642859" y="2384946"/>
            <a:ext cx="3398292" cy="2030105"/>
          </a:xfrm>
          <a:prstGeom prst="leftArrowCallout">
            <a:avLst>
              <a:gd name="adj1" fmla="val 9977"/>
              <a:gd name="adj2" fmla="val 12669"/>
              <a:gd name="adj3" fmla="val 15869"/>
              <a:gd name="adj4" fmla="val 64977"/>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800" dirty="0">
                <a:solidFill>
                  <a:srgbClr val="000000"/>
                </a:solidFill>
                <a:ea typeface="Segoe UI" pitchFamily="34" charset="0"/>
                <a:cs typeface="Segoe UI" pitchFamily="34" charset="0"/>
              </a:rPr>
              <a:t>Build functions, variables, and controls that you can leverage from many different places</a:t>
            </a:r>
          </a:p>
        </p:txBody>
      </p:sp>
    </p:spTree>
    <p:extLst>
      <p:ext uri="{BB962C8B-B14F-4D97-AF65-F5344CB8AC3E}">
        <p14:creationId xmlns:p14="http://schemas.microsoft.com/office/powerpoint/2010/main" val="358939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58CF5-AC2E-A24B-89E6-DAA1C3EBD78A}"/>
              </a:ext>
            </a:extLst>
          </p:cNvPr>
          <p:cNvSpPr>
            <a:spLocks noGrp="1"/>
          </p:cNvSpPr>
          <p:nvPr>
            <p:ph type="title"/>
          </p:nvPr>
        </p:nvSpPr>
        <p:spPr/>
        <p:txBody>
          <a:bodyPr>
            <a:normAutofit/>
          </a:bodyPr>
          <a:lstStyle/>
          <a:p>
            <a:r>
              <a:rPr lang="en-US"/>
              <a:t>Power Virtual Agents</a:t>
            </a:r>
          </a:p>
        </p:txBody>
      </p:sp>
      <p:sp>
        <p:nvSpPr>
          <p:cNvPr id="3" name="Content Placeholder 2">
            <a:extLst>
              <a:ext uri="{FF2B5EF4-FFF2-40B4-BE49-F238E27FC236}">
                <a16:creationId xmlns:a16="http://schemas.microsoft.com/office/drawing/2014/main" id="{D5DDA49F-61B2-D146-A892-BD8446E475D0}"/>
              </a:ext>
            </a:extLst>
          </p:cNvPr>
          <p:cNvSpPr>
            <a:spLocks noGrp="1"/>
          </p:cNvSpPr>
          <p:nvPr>
            <p:ph idx="1"/>
          </p:nvPr>
        </p:nvSpPr>
        <p:spPr/>
        <p:txBody>
          <a:bodyPr>
            <a:normAutofit fontScale="25000" lnSpcReduction="20000"/>
          </a:bodyPr>
          <a:lstStyle/>
          <a:p>
            <a:pPr>
              <a:lnSpc>
                <a:spcPct val="110000"/>
              </a:lnSpc>
            </a:pPr>
            <a:r>
              <a:rPr lang="en-US" sz="11200"/>
              <a:t>New member of the Power Platform - </a:t>
            </a:r>
            <a:r>
              <a:rPr lang="en-US" sz="9600">
                <a:solidFill>
                  <a:schemeClr val="accent1"/>
                </a:solidFill>
                <a:hlinkClick r:id="rId3"/>
              </a:rPr>
              <a:t>https://powervirtualagents.microsoft.com</a:t>
            </a:r>
            <a:r>
              <a:rPr lang="en-US" sz="9600">
                <a:solidFill>
                  <a:schemeClr val="accent1"/>
                </a:solidFill>
              </a:rPr>
              <a:t> </a:t>
            </a:r>
            <a:r>
              <a:rPr lang="en-US" sz="9600"/>
              <a:t> </a:t>
            </a:r>
            <a:endParaRPr lang="en-US" sz="11200"/>
          </a:p>
          <a:p>
            <a:pPr>
              <a:lnSpc>
                <a:spcPct val="110000"/>
              </a:lnSpc>
            </a:pPr>
            <a:r>
              <a:rPr lang="en-US" sz="11200"/>
              <a:t>Create your own bots</a:t>
            </a:r>
          </a:p>
          <a:p>
            <a:pPr marL="685800" lvl="2">
              <a:lnSpc>
                <a:spcPct val="110000"/>
              </a:lnSpc>
              <a:spcBef>
                <a:spcPts val="1000"/>
              </a:spcBef>
            </a:pPr>
            <a:r>
              <a:rPr lang="en-US" sz="9600"/>
              <a:t>Resolve routine issues quickly with highly personalized conversational bots</a:t>
            </a:r>
          </a:p>
          <a:p>
            <a:pPr marL="685800" lvl="2">
              <a:lnSpc>
                <a:spcPct val="110000"/>
              </a:lnSpc>
              <a:spcBef>
                <a:spcPts val="1000"/>
              </a:spcBef>
            </a:pPr>
            <a:r>
              <a:rPr lang="en-US" sz="9600"/>
              <a:t>Reduce costs by automating repetitive queries</a:t>
            </a:r>
          </a:p>
          <a:p>
            <a:pPr>
              <a:lnSpc>
                <a:spcPct val="110000"/>
              </a:lnSpc>
            </a:pPr>
            <a:r>
              <a:rPr lang="en-US" sz="11200"/>
              <a:t>Empower bots to act</a:t>
            </a:r>
          </a:p>
          <a:p>
            <a:pPr marL="685800" lvl="2">
              <a:lnSpc>
                <a:spcPct val="110000"/>
              </a:lnSpc>
              <a:spcBef>
                <a:spcPts val="1000"/>
              </a:spcBef>
            </a:pPr>
            <a:r>
              <a:rPr lang="en-US" sz="9600"/>
              <a:t>Compose conversational AI experiences </a:t>
            </a:r>
          </a:p>
          <a:p>
            <a:pPr marL="685800" lvl="2">
              <a:lnSpc>
                <a:spcPct val="110000"/>
              </a:lnSpc>
              <a:spcBef>
                <a:spcPts val="1000"/>
              </a:spcBef>
            </a:pPr>
            <a:r>
              <a:rPr lang="en-US" sz="9600"/>
              <a:t>Easily integrate bots with hundreds of apps and services using prebuilt connectors or create custom workflows with Power Automate</a:t>
            </a:r>
            <a:endParaRPr lang="en-US" sz="9600">
              <a:hlinkClick r:id="rId3">
                <a:extLst>
                  <a:ext uri="{A12FA001-AC4F-418D-AE19-62706E023703}">
                    <ahyp:hlinkClr xmlns:ahyp="http://schemas.microsoft.com/office/drawing/2018/hyperlinkcolor" val="tx"/>
                  </a:ext>
                </a:extLst>
              </a:hlinkClick>
            </a:endParaRPr>
          </a:p>
          <a:p>
            <a:pPr>
              <a:lnSpc>
                <a:spcPct val="110000"/>
              </a:lnSpc>
            </a:pPr>
            <a:r>
              <a:rPr lang="en-US" sz="11200"/>
              <a:t>Measure bot performance</a:t>
            </a:r>
          </a:p>
          <a:p>
            <a:pPr marL="685800" lvl="2">
              <a:lnSpc>
                <a:spcPct val="110000"/>
              </a:lnSpc>
              <a:spcBef>
                <a:spcPts val="1000"/>
              </a:spcBef>
            </a:pPr>
            <a:r>
              <a:rPr lang="en-US" sz="9600"/>
              <a:t>Monitor and continuously improve bot performance using AI- and data-driven insights available in an easy-to-read dashboard.</a:t>
            </a:r>
          </a:p>
          <a:p>
            <a:endParaRPr lang="en-US"/>
          </a:p>
          <a:p>
            <a:pPr marL="57150"/>
            <a:endParaRPr lang="en-US"/>
          </a:p>
          <a:p>
            <a:endParaRPr lang="en-US"/>
          </a:p>
          <a:p>
            <a:pPr marL="0" indent="0">
              <a:buNone/>
            </a:pPr>
            <a:endParaRPr lang="en-US"/>
          </a:p>
          <a:p>
            <a:endParaRPr lang="en-US"/>
          </a:p>
        </p:txBody>
      </p:sp>
      <p:pic>
        <p:nvPicPr>
          <p:cNvPr id="5" name="Picture 4" descr="A picture containing object, table, game&#10;&#10;Description automatically generated">
            <a:extLst>
              <a:ext uri="{FF2B5EF4-FFF2-40B4-BE49-F238E27FC236}">
                <a16:creationId xmlns:a16="http://schemas.microsoft.com/office/drawing/2014/main" id="{DB7392FD-F9D1-47C1-AD84-4EDBC2BBD908}"/>
              </a:ext>
            </a:extLst>
          </p:cNvPr>
          <p:cNvPicPr>
            <a:picLocks noChangeAspect="1"/>
          </p:cNvPicPr>
          <p:nvPr/>
        </p:nvPicPr>
        <p:blipFill>
          <a:blip r:embed="rId4">
            <a:alphaModFix/>
            <a:extLst>
              <a:ext uri="{28A0092B-C50C-407E-A947-70E740481C1C}">
                <a14:useLocalDpi xmlns:a14="http://schemas.microsoft.com/office/drawing/2010/main" val="0"/>
              </a:ext>
            </a:extLst>
          </a:blip>
          <a:stretch>
            <a:fillRect/>
          </a:stretch>
        </p:blipFill>
        <p:spPr>
          <a:xfrm>
            <a:off x="838200" y="664835"/>
            <a:ext cx="914400" cy="726141"/>
          </a:xfrm>
          <a:prstGeom prst="rect">
            <a:avLst/>
          </a:prstGeom>
          <a:solidFill>
            <a:schemeClr val="bg2">
              <a:lumMod val="50000"/>
              <a:alpha val="0"/>
            </a:schemeClr>
          </a:solidFill>
        </p:spPr>
      </p:pic>
    </p:spTree>
    <p:extLst>
      <p:ext uri="{BB962C8B-B14F-4D97-AF65-F5344CB8AC3E}">
        <p14:creationId xmlns:p14="http://schemas.microsoft.com/office/powerpoint/2010/main" val="211974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700" y="0"/>
            <a:ext cx="12166599" cy="6857999"/>
          </a:xfrm>
          <a:prstGeom prst="rect">
            <a:avLst/>
          </a:prstGeom>
        </p:spPr>
      </p:pic>
      <p:sp>
        <p:nvSpPr>
          <p:cNvPr id="21" name="Title 1"/>
          <p:cNvSpPr txBox="1">
            <a:spLocks/>
          </p:cNvSpPr>
          <p:nvPr/>
        </p:nvSpPr>
        <p:spPr>
          <a:xfrm>
            <a:off x="635620" y="382643"/>
            <a:ext cx="4137102" cy="587513"/>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tx1">
                    <a:lumMod val="65000"/>
                    <a:lumOff val="35000"/>
                  </a:schemeClr>
                </a:solidFill>
                <a:latin typeface="Arial" panose="020B0604020202020204" pitchFamily="34" charset="0"/>
                <a:ea typeface="Century Gothic" charset="0"/>
                <a:cs typeface="Arial" panose="020B0604020202020204" pitchFamily="34" charset="0"/>
              </a:rPr>
              <a:t>DIGITAL BUSINESS</a:t>
            </a:r>
            <a:endParaRPr lang="en-US" sz="16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B3B094CB-539A-3949-B1AB-A5AC47491DB7}"/>
              </a:ext>
            </a:extLst>
          </p:cNvPr>
          <p:cNvSpPr txBox="1">
            <a:spLocks/>
          </p:cNvSpPr>
          <p:nvPr/>
        </p:nvSpPr>
        <p:spPr>
          <a:xfrm>
            <a:off x="644602" y="880946"/>
            <a:ext cx="4137102" cy="587513"/>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4000" b="1" dirty="0">
                <a:solidFill>
                  <a:srgbClr val="02EAFF"/>
                </a:solidFill>
                <a:latin typeface="Arial" panose="020B0604020202020204" pitchFamily="34" charset="0"/>
                <a:ea typeface="Century Gothic" charset="0"/>
                <a:cs typeface="Arial" panose="020B0604020202020204" pitchFamily="34" charset="0"/>
              </a:rPr>
              <a:t>AUTOMATION</a:t>
            </a:r>
            <a:endParaRPr lang="en-US" sz="2800" b="1" dirty="0">
              <a:solidFill>
                <a:srgbClr val="02EAFF"/>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70D17E31-6EC0-8141-BB93-9C302F43422B}"/>
              </a:ext>
            </a:extLst>
          </p:cNvPr>
          <p:cNvSpPr txBox="1">
            <a:spLocks/>
          </p:cNvSpPr>
          <p:nvPr/>
        </p:nvSpPr>
        <p:spPr>
          <a:xfrm>
            <a:off x="6363628" y="1044713"/>
            <a:ext cx="4233747" cy="587513"/>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tx1">
                    <a:lumMod val="65000"/>
                    <a:lumOff val="35000"/>
                  </a:schemeClr>
                </a:solidFill>
                <a:latin typeface="Arial" panose="020B0604020202020204" pitchFamily="34" charset="0"/>
                <a:ea typeface="Century Gothic" charset="0"/>
                <a:cs typeface="Arial" panose="020B0604020202020204" pitchFamily="34" charset="0"/>
              </a:rPr>
              <a:t>What is RPA?</a:t>
            </a:r>
            <a:endParaRPr lang="en-US" sz="16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1CA1CC30-B0F7-6B4F-977E-08761112A693}"/>
              </a:ext>
            </a:extLst>
          </p:cNvPr>
          <p:cNvSpPr txBox="1">
            <a:spLocks/>
          </p:cNvSpPr>
          <p:nvPr/>
        </p:nvSpPr>
        <p:spPr>
          <a:xfrm>
            <a:off x="6363628" y="1632226"/>
            <a:ext cx="4486508" cy="164687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b="1" dirty="0">
                <a:solidFill>
                  <a:srgbClr val="02EAFF"/>
                </a:solidFill>
                <a:latin typeface="Arial" panose="020B0604020202020204" pitchFamily="34" charset="0"/>
                <a:cs typeface="Arial" panose="020B0604020202020204" pitchFamily="34" charset="0"/>
              </a:rPr>
              <a:t>Robotic Process Automation </a:t>
            </a: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is the innovative use of software to perform repetitive rules-based knowledge work across an organization as a substitute for, or </a:t>
            </a:r>
            <a:r>
              <a:rPr lang="en-US" sz="1200" b="1" dirty="0">
                <a:solidFill>
                  <a:srgbClr val="02EAFF"/>
                </a:solidFill>
                <a:latin typeface="Arial" panose="020B0604020202020204" pitchFamily="34" charset="0"/>
                <a:cs typeface="Arial" panose="020B0604020202020204" pitchFamily="34" charset="0"/>
              </a:rPr>
              <a:t>aide to, human workers.</a:t>
            </a:r>
          </a:p>
          <a:p>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r>
              <a:rPr lang="en-US" sz="1200" b="1" dirty="0">
                <a:solidFill>
                  <a:srgbClr val="02EAFF"/>
                </a:solidFill>
                <a:latin typeface="Arial" panose="020B0604020202020204" pitchFamily="34" charset="0"/>
                <a:cs typeface="Arial" panose="020B0604020202020204" pitchFamily="34" charset="0"/>
              </a:rPr>
              <a:t>“Virtual Workers”</a:t>
            </a: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 replicate the specific actions a human would take while working with IT systems, the decisions they make, and the logical processes they follow, while interacting between different systems and applications.</a:t>
            </a:r>
            <a:endParaRPr lang="en-US" sz="10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8370FC5-F313-4C95-9EC6-D9D84C019E70}"/>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5D6D3450-F777-457B-ADCB-EE7F248057C5}"/>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3045574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700" y="0"/>
            <a:ext cx="12166598" cy="6857999"/>
          </a:xfrm>
          <a:prstGeom prst="rect">
            <a:avLst/>
          </a:prstGeom>
        </p:spPr>
      </p:pic>
      <p:sp>
        <p:nvSpPr>
          <p:cNvPr id="21" name="Title 1"/>
          <p:cNvSpPr txBox="1">
            <a:spLocks/>
          </p:cNvSpPr>
          <p:nvPr/>
        </p:nvSpPr>
        <p:spPr>
          <a:xfrm>
            <a:off x="12700" y="3260304"/>
            <a:ext cx="6064715" cy="1133276"/>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800" b="1" spc="600" dirty="0">
                <a:solidFill>
                  <a:schemeClr val="bg1">
                    <a:lumMod val="95000"/>
                  </a:schemeClr>
                </a:solidFill>
                <a:latin typeface="Arial" panose="020B0604020202020204" pitchFamily="34" charset="0"/>
                <a:ea typeface="Century Gothic" charset="0"/>
                <a:cs typeface="Arial" panose="020B0604020202020204" pitchFamily="34" charset="0"/>
              </a:rPr>
              <a:t>HOW IS RPA AFFECTING</a:t>
            </a:r>
          </a:p>
          <a:p>
            <a:pPr algn="ctr"/>
            <a:r>
              <a:rPr lang="en-US" sz="1800" b="1" spc="600" dirty="0">
                <a:solidFill>
                  <a:schemeClr val="bg1">
                    <a:lumMod val="95000"/>
                  </a:schemeClr>
                </a:solidFill>
                <a:latin typeface="Arial" panose="020B0604020202020204" pitchFamily="34" charset="0"/>
                <a:ea typeface="Century Gothic" charset="0"/>
                <a:cs typeface="Arial" panose="020B0604020202020204" pitchFamily="34" charset="0"/>
              </a:rPr>
              <a:t>THE WAY WE WORK?</a:t>
            </a:r>
            <a:endParaRPr lang="en-US" sz="1200" b="1" spc="600" dirty="0">
              <a:solidFill>
                <a:schemeClr val="bg1">
                  <a:lumMod val="95000"/>
                </a:schemeClr>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70D17E31-6EC0-8141-BB93-9C302F43422B}"/>
              </a:ext>
            </a:extLst>
          </p:cNvPr>
          <p:cNvSpPr txBox="1">
            <a:spLocks/>
          </p:cNvSpPr>
          <p:nvPr/>
        </p:nvSpPr>
        <p:spPr>
          <a:xfrm>
            <a:off x="7177668" y="855142"/>
            <a:ext cx="2412382" cy="39444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bg1"/>
                </a:solidFill>
                <a:latin typeface="Arial" panose="020B0604020202020204" pitchFamily="34" charset="0"/>
                <a:ea typeface="Century Gothic" charset="0"/>
                <a:cs typeface="Arial" panose="020B0604020202020204" pitchFamily="34" charset="0"/>
              </a:rPr>
              <a:t>45% of all work</a:t>
            </a:r>
            <a:endParaRPr lang="en-US" sz="1600" b="1" dirty="0">
              <a:solidFill>
                <a:schemeClr val="bg1"/>
              </a:solidFill>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1CA1CC30-B0F7-6B4F-977E-08761112A693}"/>
              </a:ext>
            </a:extLst>
          </p:cNvPr>
          <p:cNvSpPr txBox="1">
            <a:spLocks/>
          </p:cNvSpPr>
          <p:nvPr/>
        </p:nvSpPr>
        <p:spPr>
          <a:xfrm>
            <a:off x="7177666" y="1204977"/>
            <a:ext cx="2304911" cy="3861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dirty="0">
                <a:solidFill>
                  <a:schemeClr val="bg1"/>
                </a:solidFill>
                <a:latin typeface="Arial" panose="020B0604020202020204" pitchFamily="34" charset="0"/>
                <a:ea typeface="Century Gothic" charset="0"/>
                <a:cs typeface="Arial" panose="020B0604020202020204" pitchFamily="34" charset="0"/>
              </a:rPr>
              <a:t>activities can be automated</a:t>
            </a:r>
            <a:endParaRPr lang="en-US" sz="1000" dirty="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4AADA173-6B42-8A46-9A01-33B6177432F0}"/>
              </a:ext>
            </a:extLst>
          </p:cNvPr>
          <p:cNvPicPr>
            <a:picLocks noChangeAspect="1"/>
          </p:cNvPicPr>
          <p:nvPr/>
        </p:nvPicPr>
        <p:blipFill>
          <a:blip r:embed="rId4">
            <a:lum bright="70000" contrast="-70000"/>
          </a:blip>
          <a:stretch>
            <a:fillRect/>
          </a:stretch>
        </p:blipFill>
        <p:spPr>
          <a:xfrm>
            <a:off x="2652905" y="2527825"/>
            <a:ext cx="628185" cy="697983"/>
          </a:xfrm>
          <a:prstGeom prst="rect">
            <a:avLst/>
          </a:prstGeom>
        </p:spPr>
      </p:pic>
      <p:sp>
        <p:nvSpPr>
          <p:cNvPr id="10" name="Title 1">
            <a:extLst>
              <a:ext uri="{FF2B5EF4-FFF2-40B4-BE49-F238E27FC236}">
                <a16:creationId xmlns:a16="http://schemas.microsoft.com/office/drawing/2014/main" id="{EA8C81FD-4967-F647-B581-4FECEF4CD59F}"/>
              </a:ext>
            </a:extLst>
          </p:cNvPr>
          <p:cNvSpPr txBox="1">
            <a:spLocks/>
          </p:cNvSpPr>
          <p:nvPr/>
        </p:nvSpPr>
        <p:spPr>
          <a:xfrm>
            <a:off x="7177668" y="1791845"/>
            <a:ext cx="3650166" cy="39444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bg1"/>
                </a:solidFill>
                <a:latin typeface="Arial" panose="020B0604020202020204" pitchFamily="34" charset="0"/>
                <a:ea typeface="Century Gothic" charset="0"/>
                <a:cs typeface="Arial" panose="020B0604020202020204" pitchFamily="34" charset="0"/>
              </a:rPr>
              <a:t>$2 trillion dollars</a:t>
            </a:r>
            <a:endParaRPr lang="en-US" sz="1600" b="1" dirty="0">
              <a:solidFill>
                <a:schemeClr val="bg1"/>
              </a:solidFill>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44DCB25A-A9DC-914A-8BF6-F2C04BFED824}"/>
              </a:ext>
            </a:extLst>
          </p:cNvPr>
          <p:cNvSpPr txBox="1">
            <a:spLocks/>
          </p:cNvSpPr>
          <p:nvPr/>
        </p:nvSpPr>
        <p:spPr>
          <a:xfrm>
            <a:off x="7177666" y="2141680"/>
            <a:ext cx="3427144" cy="3861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dirty="0">
                <a:solidFill>
                  <a:schemeClr val="bg1"/>
                </a:solidFill>
                <a:latin typeface="Arial" panose="020B0604020202020204" pitchFamily="34" charset="0"/>
                <a:ea typeface="Century Gothic" charset="0"/>
                <a:cs typeface="Arial" panose="020B0604020202020204" pitchFamily="34" charset="0"/>
              </a:rPr>
              <a:t>could be saved in workforce spending</a:t>
            </a:r>
            <a:endParaRPr lang="en-US" sz="1000" dirty="0">
              <a:solidFill>
                <a:schemeClr val="bg1"/>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D9E6B2E2-FD10-B047-9757-A996EEEB6CF4}"/>
              </a:ext>
            </a:extLst>
          </p:cNvPr>
          <p:cNvSpPr txBox="1">
            <a:spLocks/>
          </p:cNvSpPr>
          <p:nvPr/>
        </p:nvSpPr>
        <p:spPr>
          <a:xfrm>
            <a:off x="7177668" y="2750847"/>
            <a:ext cx="3650166" cy="39444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bg1"/>
                </a:solidFill>
                <a:latin typeface="Arial" panose="020B0604020202020204" pitchFamily="34" charset="0"/>
                <a:ea typeface="Century Gothic" charset="0"/>
                <a:cs typeface="Arial" panose="020B0604020202020204" pitchFamily="34" charset="0"/>
              </a:rPr>
              <a:t>6-9 Months</a:t>
            </a:r>
            <a:endParaRPr lang="en-US" sz="1600" b="1" dirty="0">
              <a:solidFill>
                <a:schemeClr val="bg1"/>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C5044F1D-C458-BA4A-9147-EF0280FF0EEF}"/>
              </a:ext>
            </a:extLst>
          </p:cNvPr>
          <p:cNvSpPr txBox="1">
            <a:spLocks/>
          </p:cNvSpPr>
          <p:nvPr/>
        </p:nvSpPr>
        <p:spPr>
          <a:xfrm>
            <a:off x="7177666" y="3100682"/>
            <a:ext cx="3427144" cy="3861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dirty="0">
                <a:solidFill>
                  <a:schemeClr val="bg1"/>
                </a:solidFill>
                <a:latin typeface="Arial" panose="020B0604020202020204" pitchFamily="34" charset="0"/>
                <a:ea typeface="Century Gothic" charset="0"/>
                <a:cs typeface="Arial" panose="020B0604020202020204" pitchFamily="34" charset="0"/>
              </a:rPr>
              <a:t>on average ROI for an RPA project</a:t>
            </a:r>
            <a:endParaRPr lang="en-US" sz="1000" dirty="0">
              <a:solidFill>
                <a:schemeClr val="bg1"/>
              </a:solidFill>
              <a:latin typeface="Arial" panose="020B0604020202020204" pitchFamily="34" charset="0"/>
              <a:cs typeface="Arial" panose="020B0604020202020204" pitchFamily="34" charset="0"/>
            </a:endParaRPr>
          </a:p>
        </p:txBody>
      </p:sp>
      <p:sp>
        <p:nvSpPr>
          <p:cNvPr id="14" name="Title 1">
            <a:extLst>
              <a:ext uri="{FF2B5EF4-FFF2-40B4-BE49-F238E27FC236}">
                <a16:creationId xmlns:a16="http://schemas.microsoft.com/office/drawing/2014/main" id="{E9D17E9A-1D4E-484F-9B8F-45624DB134EE}"/>
              </a:ext>
            </a:extLst>
          </p:cNvPr>
          <p:cNvSpPr txBox="1">
            <a:spLocks/>
          </p:cNvSpPr>
          <p:nvPr/>
        </p:nvSpPr>
        <p:spPr>
          <a:xfrm>
            <a:off x="7177668" y="3721001"/>
            <a:ext cx="3650166" cy="39444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bg1"/>
                </a:solidFill>
                <a:latin typeface="Arial" panose="020B0604020202020204" pitchFamily="34" charset="0"/>
                <a:ea typeface="Century Gothic" charset="0"/>
                <a:cs typeface="Arial" panose="020B0604020202020204" pitchFamily="34" charset="0"/>
              </a:rPr>
              <a:t>94% of CEOs</a:t>
            </a:r>
          </a:p>
        </p:txBody>
      </p:sp>
      <p:sp>
        <p:nvSpPr>
          <p:cNvPr id="15" name="Title 1">
            <a:extLst>
              <a:ext uri="{FF2B5EF4-FFF2-40B4-BE49-F238E27FC236}">
                <a16:creationId xmlns:a16="http://schemas.microsoft.com/office/drawing/2014/main" id="{79928C96-2F8B-364D-B6E9-747064B4A364}"/>
              </a:ext>
            </a:extLst>
          </p:cNvPr>
          <p:cNvSpPr txBox="1">
            <a:spLocks/>
          </p:cNvSpPr>
          <p:nvPr/>
        </p:nvSpPr>
        <p:spPr>
          <a:xfrm>
            <a:off x="7177666" y="4070836"/>
            <a:ext cx="3427144" cy="3861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dirty="0">
                <a:solidFill>
                  <a:schemeClr val="bg1"/>
                </a:solidFill>
                <a:latin typeface="Arial" panose="020B0604020202020204" pitchFamily="34" charset="0"/>
                <a:ea typeface="Century Gothic" charset="0"/>
                <a:cs typeface="Arial" panose="020B0604020202020204" pitchFamily="34" charset="0"/>
              </a:rPr>
              <a:t>that have incorporated RPA believe</a:t>
            </a:r>
          </a:p>
          <a:p>
            <a:r>
              <a:rPr lang="en-US" sz="1200" dirty="0">
                <a:solidFill>
                  <a:schemeClr val="bg1"/>
                </a:solidFill>
                <a:latin typeface="Arial" panose="020B0604020202020204" pitchFamily="34" charset="0"/>
                <a:ea typeface="Century Gothic" charset="0"/>
                <a:cs typeface="Arial" panose="020B0604020202020204" pitchFamily="34" charset="0"/>
              </a:rPr>
              <a:t>that it has increased the productivity</a:t>
            </a:r>
          </a:p>
        </p:txBody>
      </p:sp>
      <p:sp>
        <p:nvSpPr>
          <p:cNvPr id="16" name="Title 1">
            <a:extLst>
              <a:ext uri="{FF2B5EF4-FFF2-40B4-BE49-F238E27FC236}">
                <a16:creationId xmlns:a16="http://schemas.microsoft.com/office/drawing/2014/main" id="{3E57481C-5629-0A46-A241-31018493EA43}"/>
              </a:ext>
            </a:extLst>
          </p:cNvPr>
          <p:cNvSpPr txBox="1">
            <a:spLocks/>
          </p:cNvSpPr>
          <p:nvPr/>
        </p:nvSpPr>
        <p:spPr>
          <a:xfrm>
            <a:off x="7177668" y="4735760"/>
            <a:ext cx="3650166" cy="39444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dirty="0">
                <a:solidFill>
                  <a:schemeClr val="bg1"/>
                </a:solidFill>
                <a:latin typeface="Arial" panose="020B0604020202020204" pitchFamily="34" charset="0"/>
                <a:ea typeface="Century Gothic" charset="0"/>
                <a:cs typeface="Arial" panose="020B0604020202020204" pitchFamily="34" charset="0"/>
              </a:rPr>
              <a:t>By 2025</a:t>
            </a:r>
          </a:p>
        </p:txBody>
      </p:sp>
      <p:sp>
        <p:nvSpPr>
          <p:cNvPr id="17" name="Title 1">
            <a:extLst>
              <a:ext uri="{FF2B5EF4-FFF2-40B4-BE49-F238E27FC236}">
                <a16:creationId xmlns:a16="http://schemas.microsoft.com/office/drawing/2014/main" id="{151908E2-DF84-4943-88EC-479414DEAFF0}"/>
              </a:ext>
            </a:extLst>
          </p:cNvPr>
          <p:cNvSpPr txBox="1">
            <a:spLocks/>
          </p:cNvSpPr>
          <p:nvPr/>
        </p:nvSpPr>
        <p:spPr>
          <a:xfrm>
            <a:off x="7177666" y="5085595"/>
            <a:ext cx="3427144" cy="3861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dirty="0">
                <a:solidFill>
                  <a:schemeClr val="bg1"/>
                </a:solidFill>
                <a:latin typeface="Arial" panose="020B0604020202020204" pitchFamily="34" charset="0"/>
                <a:ea typeface="Century Gothic" charset="0"/>
                <a:cs typeface="Arial" panose="020B0604020202020204" pitchFamily="34" charset="0"/>
              </a:rPr>
              <a:t>25% of jobs will be robotized</a:t>
            </a:r>
          </a:p>
        </p:txBody>
      </p:sp>
      <p:sp>
        <p:nvSpPr>
          <p:cNvPr id="2" name="Title 1">
            <a:extLst>
              <a:ext uri="{FF2B5EF4-FFF2-40B4-BE49-F238E27FC236}">
                <a16:creationId xmlns:a16="http://schemas.microsoft.com/office/drawing/2014/main" id="{4CBA7D8F-4DE8-403C-94C5-573E36942930}"/>
              </a:ext>
            </a:extLst>
          </p:cNvPr>
          <p:cNvSpPr>
            <a:spLocks noGrp="1"/>
          </p:cNvSpPr>
          <p:nvPr>
            <p:ph type="title"/>
          </p:nvPr>
        </p:nvSpPr>
        <p:spPr/>
        <p:txBody>
          <a:bodyPr/>
          <a:lstStyle/>
          <a:p>
            <a:endParaRPr lang="nl-NL"/>
          </a:p>
        </p:txBody>
      </p:sp>
      <p:sp>
        <p:nvSpPr>
          <p:cNvPr id="5" name="Content Placeholder 4">
            <a:extLst>
              <a:ext uri="{FF2B5EF4-FFF2-40B4-BE49-F238E27FC236}">
                <a16:creationId xmlns:a16="http://schemas.microsoft.com/office/drawing/2014/main" id="{0C8DDC7B-EBEA-4DE1-84F1-FFDDBDEF10B7}"/>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879555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700" y="0"/>
            <a:ext cx="12166598" cy="6857998"/>
          </a:xfrm>
          <a:prstGeom prst="rect">
            <a:avLst/>
          </a:prstGeom>
        </p:spPr>
      </p:pic>
      <p:sp>
        <p:nvSpPr>
          <p:cNvPr id="21" name="Title 1"/>
          <p:cNvSpPr txBox="1">
            <a:spLocks/>
          </p:cNvSpPr>
          <p:nvPr/>
        </p:nvSpPr>
        <p:spPr>
          <a:xfrm>
            <a:off x="6434254" y="348412"/>
            <a:ext cx="1561170" cy="48364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3200" b="1" spc="600" dirty="0">
                <a:solidFill>
                  <a:schemeClr val="accent6"/>
                </a:solidFill>
                <a:latin typeface="Arial" panose="020B0604020202020204" pitchFamily="34" charset="0"/>
                <a:ea typeface="Century Gothic" charset="0"/>
                <a:cs typeface="Arial" panose="020B0604020202020204" pitchFamily="34" charset="0"/>
              </a:rPr>
              <a:t>RPA</a:t>
            </a:r>
          </a:p>
        </p:txBody>
      </p:sp>
      <p:sp>
        <p:nvSpPr>
          <p:cNvPr id="9" name="Title 1">
            <a:extLst>
              <a:ext uri="{FF2B5EF4-FFF2-40B4-BE49-F238E27FC236}">
                <a16:creationId xmlns:a16="http://schemas.microsoft.com/office/drawing/2014/main" id="{1CA1CC30-B0F7-6B4F-977E-08761112A693}"/>
              </a:ext>
            </a:extLst>
          </p:cNvPr>
          <p:cNvSpPr txBox="1">
            <a:spLocks/>
          </p:cNvSpPr>
          <p:nvPr/>
        </p:nvSpPr>
        <p:spPr>
          <a:xfrm>
            <a:off x="6976946" y="1484372"/>
            <a:ext cx="3293328" cy="3344721"/>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Government and regulatory compliance</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Virtual workforce 24x7x365</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Productivity increase</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Reduction of human errors</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Flexibility</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Cost reduction</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a:p>
            <a:pPr>
              <a:spcAft>
                <a:spcPts val="400"/>
              </a:spcAft>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Scalability</a:t>
            </a:r>
          </a:p>
          <a:p>
            <a:pPr>
              <a:spcAft>
                <a:spcPts val="400"/>
              </a:spcAft>
            </a:pPr>
            <a:endPar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endParaRPr>
          </a:p>
        </p:txBody>
      </p:sp>
      <p:sp>
        <p:nvSpPr>
          <p:cNvPr id="18" name="Title 1">
            <a:extLst>
              <a:ext uri="{FF2B5EF4-FFF2-40B4-BE49-F238E27FC236}">
                <a16:creationId xmlns:a16="http://schemas.microsoft.com/office/drawing/2014/main" id="{99218464-928D-6246-A981-667A1555EBF8}"/>
              </a:ext>
            </a:extLst>
          </p:cNvPr>
          <p:cNvSpPr txBox="1">
            <a:spLocks/>
          </p:cNvSpPr>
          <p:nvPr/>
        </p:nvSpPr>
        <p:spPr>
          <a:xfrm>
            <a:off x="6445405" y="836989"/>
            <a:ext cx="4137102" cy="287994"/>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800" b="1" spc="600" dirty="0">
                <a:solidFill>
                  <a:schemeClr val="tx1">
                    <a:lumMod val="65000"/>
                    <a:lumOff val="35000"/>
                  </a:schemeClr>
                </a:solidFill>
                <a:latin typeface="Arial" panose="020B0604020202020204" pitchFamily="34" charset="0"/>
                <a:ea typeface="Century Gothic" charset="0"/>
                <a:cs typeface="Arial" panose="020B0604020202020204" pitchFamily="34" charset="0"/>
              </a:rPr>
              <a:t>BUSINESS BENEFITS</a:t>
            </a:r>
            <a:endParaRPr lang="en-US" sz="1200" b="1" spc="6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3217A309-E87C-B747-A271-F111AFEC93B5}"/>
              </a:ext>
            </a:extLst>
          </p:cNvPr>
          <p:cNvPicPr>
            <a:picLocks noChangeAspect="1"/>
          </p:cNvPicPr>
          <p:nvPr/>
        </p:nvPicPr>
        <p:blipFill>
          <a:blip r:embed="rId4"/>
          <a:stretch>
            <a:fillRect/>
          </a:stretch>
        </p:blipFill>
        <p:spPr>
          <a:xfrm>
            <a:off x="6564349" y="1479546"/>
            <a:ext cx="327104" cy="3064448"/>
          </a:xfrm>
          <a:prstGeom prst="rect">
            <a:avLst/>
          </a:prstGeom>
        </p:spPr>
      </p:pic>
      <p:sp>
        <p:nvSpPr>
          <p:cNvPr id="19" name="Title 1">
            <a:extLst>
              <a:ext uri="{FF2B5EF4-FFF2-40B4-BE49-F238E27FC236}">
                <a16:creationId xmlns:a16="http://schemas.microsoft.com/office/drawing/2014/main" id="{022C2729-7BCF-5D40-A92C-7F9346B9B0D1}"/>
              </a:ext>
            </a:extLst>
          </p:cNvPr>
          <p:cNvSpPr txBox="1">
            <a:spLocks/>
          </p:cNvSpPr>
          <p:nvPr/>
        </p:nvSpPr>
        <p:spPr>
          <a:xfrm>
            <a:off x="6976947" y="5634082"/>
            <a:ext cx="5021765" cy="48364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30" spc="600" dirty="0">
                <a:solidFill>
                  <a:schemeClr val="accent6"/>
                </a:solidFill>
                <a:latin typeface="Arial" panose="020B0604020202020204" pitchFamily="34" charset="0"/>
                <a:ea typeface="Century Gothic" charset="0"/>
                <a:cs typeface="Arial" panose="020B0604020202020204" pitchFamily="34" charset="0"/>
              </a:rPr>
              <a:t>RAPID IMPLEMENTATION AND ROI</a:t>
            </a:r>
          </a:p>
        </p:txBody>
      </p:sp>
      <p:sp>
        <p:nvSpPr>
          <p:cNvPr id="20" name="Title 1">
            <a:extLst>
              <a:ext uri="{FF2B5EF4-FFF2-40B4-BE49-F238E27FC236}">
                <a16:creationId xmlns:a16="http://schemas.microsoft.com/office/drawing/2014/main" id="{30F22AAC-5147-5440-B9FA-A57222CBC701}"/>
              </a:ext>
            </a:extLst>
          </p:cNvPr>
          <p:cNvSpPr txBox="1">
            <a:spLocks/>
          </p:cNvSpPr>
          <p:nvPr/>
        </p:nvSpPr>
        <p:spPr>
          <a:xfrm>
            <a:off x="6988098" y="5924015"/>
            <a:ext cx="4887951" cy="48364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050" b="1" spc="300" dirty="0">
                <a:solidFill>
                  <a:schemeClr val="accent6"/>
                </a:solidFill>
                <a:latin typeface="Arial" panose="020B0604020202020204" pitchFamily="34" charset="0"/>
                <a:ea typeface="Century Gothic" charset="0"/>
                <a:cs typeface="Arial" panose="020B0604020202020204" pitchFamily="34" charset="0"/>
              </a:rPr>
              <a:t>REDUCES THE NUMBER OF FTES IN A PROCESS</a:t>
            </a:r>
          </a:p>
        </p:txBody>
      </p:sp>
      <p:pic>
        <p:nvPicPr>
          <p:cNvPr id="23" name="Picture 22">
            <a:extLst>
              <a:ext uri="{FF2B5EF4-FFF2-40B4-BE49-F238E27FC236}">
                <a16:creationId xmlns:a16="http://schemas.microsoft.com/office/drawing/2014/main" id="{02D70336-3A73-B142-8E44-107418F609B3}"/>
              </a:ext>
            </a:extLst>
          </p:cNvPr>
          <p:cNvPicPr>
            <a:picLocks noChangeAspect="1"/>
          </p:cNvPicPr>
          <p:nvPr/>
        </p:nvPicPr>
        <p:blipFill>
          <a:blip r:embed="rId5"/>
          <a:stretch>
            <a:fillRect/>
          </a:stretch>
        </p:blipFill>
        <p:spPr>
          <a:xfrm>
            <a:off x="11138135" y="4647070"/>
            <a:ext cx="585358" cy="929687"/>
          </a:xfrm>
          <a:prstGeom prst="rect">
            <a:avLst/>
          </a:prstGeom>
        </p:spPr>
      </p:pic>
      <p:sp>
        <p:nvSpPr>
          <p:cNvPr id="2" name="Title 1">
            <a:extLst>
              <a:ext uri="{FF2B5EF4-FFF2-40B4-BE49-F238E27FC236}">
                <a16:creationId xmlns:a16="http://schemas.microsoft.com/office/drawing/2014/main" id="{60AE496D-9266-4480-AC64-4ED39FADED15}"/>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E1752519-BA37-473A-B6DA-0E5C9EB8E4E0}"/>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383486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701" y="0"/>
            <a:ext cx="12166596" cy="6857998"/>
          </a:xfrm>
          <a:prstGeom prst="rect">
            <a:avLst/>
          </a:prstGeom>
        </p:spPr>
      </p:pic>
      <p:sp>
        <p:nvSpPr>
          <p:cNvPr id="18" name="Title 1">
            <a:extLst>
              <a:ext uri="{FF2B5EF4-FFF2-40B4-BE49-F238E27FC236}">
                <a16:creationId xmlns:a16="http://schemas.microsoft.com/office/drawing/2014/main" id="{99218464-928D-6246-A981-667A1555EBF8}"/>
              </a:ext>
            </a:extLst>
          </p:cNvPr>
          <p:cNvSpPr txBox="1">
            <a:spLocks/>
          </p:cNvSpPr>
          <p:nvPr/>
        </p:nvSpPr>
        <p:spPr>
          <a:xfrm>
            <a:off x="401444" y="530560"/>
            <a:ext cx="4137102" cy="287994"/>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2400" b="1" spc="300" dirty="0">
                <a:solidFill>
                  <a:schemeClr val="tx1">
                    <a:lumMod val="65000"/>
                    <a:lumOff val="35000"/>
                  </a:schemeClr>
                </a:solidFill>
                <a:latin typeface="Arial" panose="020B0604020202020204" pitchFamily="34" charset="0"/>
                <a:ea typeface="Century Gothic" charset="0"/>
                <a:cs typeface="Arial" panose="020B0604020202020204" pitchFamily="34" charset="0"/>
              </a:rPr>
              <a:t>How RPA Works?</a:t>
            </a:r>
            <a:endParaRPr lang="en-US" sz="1600" b="1" spc="3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 name="Title 1">
            <a:extLst>
              <a:ext uri="{FF2B5EF4-FFF2-40B4-BE49-F238E27FC236}">
                <a16:creationId xmlns:a16="http://schemas.microsoft.com/office/drawing/2014/main" id="{022C2729-7BCF-5D40-A92C-7F9346B9B0D1}"/>
              </a:ext>
            </a:extLst>
          </p:cNvPr>
          <p:cNvSpPr txBox="1">
            <a:spLocks/>
          </p:cNvSpPr>
          <p:nvPr/>
        </p:nvSpPr>
        <p:spPr>
          <a:xfrm>
            <a:off x="1282391" y="5344150"/>
            <a:ext cx="4549697" cy="48364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r"/>
            <a:r>
              <a:rPr lang="en-US" sz="1230" spc="300" dirty="0">
                <a:solidFill>
                  <a:schemeClr val="accent5"/>
                </a:solidFill>
                <a:latin typeface="Arial" panose="020B0604020202020204" pitchFamily="34" charset="0"/>
                <a:ea typeface="Century Gothic" charset="0"/>
                <a:cs typeface="Arial" panose="020B0604020202020204" pitchFamily="34" charset="0"/>
              </a:rPr>
              <a:t>FOCUS ON ONLY JOBS HUMANS CAN DO</a:t>
            </a:r>
          </a:p>
        </p:txBody>
      </p:sp>
      <p:sp>
        <p:nvSpPr>
          <p:cNvPr id="20" name="Title 1">
            <a:extLst>
              <a:ext uri="{FF2B5EF4-FFF2-40B4-BE49-F238E27FC236}">
                <a16:creationId xmlns:a16="http://schemas.microsoft.com/office/drawing/2014/main" id="{30F22AAC-5147-5440-B9FA-A57222CBC701}"/>
              </a:ext>
            </a:extLst>
          </p:cNvPr>
          <p:cNvSpPr txBox="1">
            <a:spLocks/>
          </p:cNvSpPr>
          <p:nvPr/>
        </p:nvSpPr>
        <p:spPr>
          <a:xfrm>
            <a:off x="944137" y="5801354"/>
            <a:ext cx="4887951" cy="48364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r"/>
            <a:r>
              <a:rPr lang="en-US" sz="1800" b="1" spc="300" dirty="0">
                <a:solidFill>
                  <a:schemeClr val="accent5"/>
                </a:solidFill>
                <a:latin typeface="Arial" panose="020B0604020202020204" pitchFamily="34" charset="0"/>
                <a:ea typeface="Century Gothic" charset="0"/>
                <a:cs typeface="Arial" panose="020B0604020202020204" pitchFamily="34" charset="0"/>
              </a:rPr>
              <a:t>STRATEGY, CREATIVITY AND</a:t>
            </a:r>
          </a:p>
          <a:p>
            <a:pPr algn="r"/>
            <a:r>
              <a:rPr lang="en-US" sz="1800" b="1" spc="300" dirty="0">
                <a:solidFill>
                  <a:schemeClr val="accent5"/>
                </a:solidFill>
                <a:latin typeface="Arial" panose="020B0604020202020204" pitchFamily="34" charset="0"/>
                <a:ea typeface="Century Gothic" charset="0"/>
                <a:cs typeface="Arial" panose="020B0604020202020204" pitchFamily="34" charset="0"/>
              </a:rPr>
              <a:t>CONNECTING WITH PEOPLE</a:t>
            </a:r>
          </a:p>
        </p:txBody>
      </p:sp>
      <p:sp>
        <p:nvSpPr>
          <p:cNvPr id="11" name="Title 1">
            <a:extLst>
              <a:ext uri="{FF2B5EF4-FFF2-40B4-BE49-F238E27FC236}">
                <a16:creationId xmlns:a16="http://schemas.microsoft.com/office/drawing/2014/main" id="{B3AA2FB1-D376-4846-BDE2-45EF8237BA4F}"/>
              </a:ext>
            </a:extLst>
          </p:cNvPr>
          <p:cNvSpPr txBox="1">
            <a:spLocks/>
          </p:cNvSpPr>
          <p:nvPr/>
        </p:nvSpPr>
        <p:spPr>
          <a:xfrm>
            <a:off x="680224" y="985824"/>
            <a:ext cx="4486508" cy="164687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marL="171450" indent="-171450">
              <a:spcAft>
                <a:spcPts val="1200"/>
              </a:spcAft>
              <a:buClr>
                <a:schemeClr val="accent5"/>
              </a:buClr>
              <a:buSzPct val="113000"/>
              <a:buFont typeface="Arial" panose="020B0604020202020204" pitchFamily="34" charset="0"/>
              <a:buChar char="•"/>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No significant change to the current IT infrastructure</a:t>
            </a:r>
          </a:p>
          <a:p>
            <a:pPr marL="171450" indent="-171450">
              <a:spcAft>
                <a:spcPts val="1200"/>
              </a:spcAft>
              <a:buClr>
                <a:schemeClr val="accent5"/>
              </a:buClr>
              <a:buSzPct val="113000"/>
              <a:buFont typeface="Arial" panose="020B0604020202020204" pitchFamily="34" charset="0"/>
              <a:buChar char="•"/>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No changes to existing interfaces</a:t>
            </a:r>
          </a:p>
          <a:p>
            <a:pPr marL="171450" indent="-171450">
              <a:spcAft>
                <a:spcPts val="1200"/>
              </a:spcAft>
              <a:buClr>
                <a:schemeClr val="accent5"/>
              </a:buClr>
              <a:buSzPct val="113000"/>
              <a:buFont typeface="Arial" panose="020B0604020202020204" pitchFamily="34" charset="0"/>
              <a:buChar char="•"/>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No need for a massive upfront investment</a:t>
            </a:r>
          </a:p>
          <a:p>
            <a:pPr marL="171450" indent="-171450">
              <a:spcAft>
                <a:spcPts val="1200"/>
              </a:spcAft>
              <a:buClr>
                <a:schemeClr val="accent5"/>
              </a:buClr>
              <a:buSzPct val="113000"/>
              <a:buFont typeface="Arial" panose="020B0604020202020204" pitchFamily="34" charset="0"/>
              <a:buChar char="•"/>
            </a:pP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Reduces swivel chair integration</a:t>
            </a:r>
            <a:endParaRPr lang="en-US" sz="10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6936870D-2171-154D-B348-7AD583D557D0}"/>
              </a:ext>
            </a:extLst>
          </p:cNvPr>
          <p:cNvSpPr txBox="1">
            <a:spLocks/>
          </p:cNvSpPr>
          <p:nvPr/>
        </p:nvSpPr>
        <p:spPr>
          <a:xfrm>
            <a:off x="401444" y="2476589"/>
            <a:ext cx="4486508" cy="1693477"/>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Robotic Process Automation is expected to save companies </a:t>
            </a:r>
            <a:r>
              <a:rPr lang="en-US" sz="1800" b="1" dirty="0">
                <a:solidFill>
                  <a:schemeClr val="accent5"/>
                </a:solidFill>
                <a:latin typeface="Arial" panose="020B0604020202020204" pitchFamily="34" charset="0"/>
                <a:ea typeface="Century Gothic" charset="0"/>
                <a:cs typeface="Arial" panose="020B0604020202020204" pitchFamily="34" charset="0"/>
              </a:rPr>
              <a:t>50-70% on labor costs </a:t>
            </a:r>
            <a:r>
              <a:rPr lang="en-US" sz="1200" dirty="0">
                <a:solidFill>
                  <a:schemeClr val="tx1">
                    <a:lumMod val="65000"/>
                    <a:lumOff val="35000"/>
                  </a:schemeClr>
                </a:solidFill>
                <a:latin typeface="Arial" panose="020B0604020202020204" pitchFamily="34" charset="0"/>
                <a:ea typeface="Century Gothic" charset="0"/>
                <a:cs typeface="Arial" panose="020B0604020202020204" pitchFamily="34" charset="0"/>
              </a:rPr>
              <a:t>by making intelligent use of resources, near-zero error rates, improved compliance and reduced process cycle time, all of these through the implementation of machine learning and AI to develop/enhance procedures.</a:t>
            </a:r>
            <a:endParaRPr lang="en-US" sz="10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E76D6F00-230B-464E-8065-8E7F26233053}"/>
              </a:ext>
            </a:extLst>
          </p:cNvPr>
          <p:cNvPicPr>
            <a:picLocks noChangeAspect="1"/>
          </p:cNvPicPr>
          <p:nvPr/>
        </p:nvPicPr>
        <p:blipFill>
          <a:blip r:embed="rId4"/>
          <a:stretch>
            <a:fillRect/>
          </a:stretch>
        </p:blipFill>
        <p:spPr>
          <a:xfrm>
            <a:off x="4887952" y="4467846"/>
            <a:ext cx="858644" cy="760513"/>
          </a:xfrm>
          <a:prstGeom prst="rect">
            <a:avLst/>
          </a:prstGeom>
        </p:spPr>
      </p:pic>
      <p:sp>
        <p:nvSpPr>
          <p:cNvPr id="2" name="Title 1">
            <a:extLst>
              <a:ext uri="{FF2B5EF4-FFF2-40B4-BE49-F238E27FC236}">
                <a16:creationId xmlns:a16="http://schemas.microsoft.com/office/drawing/2014/main" id="{00D0CE9B-966A-4260-AEA0-0557D5DBBA23}"/>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16AA85FE-005F-4075-BF33-F0716661B08B}"/>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38123065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701" y="0"/>
            <a:ext cx="12166596" cy="6857997"/>
          </a:xfrm>
          <a:prstGeom prst="rect">
            <a:avLst/>
          </a:prstGeom>
        </p:spPr>
      </p:pic>
      <p:sp>
        <p:nvSpPr>
          <p:cNvPr id="18" name="Title 1">
            <a:extLst>
              <a:ext uri="{FF2B5EF4-FFF2-40B4-BE49-F238E27FC236}">
                <a16:creationId xmlns:a16="http://schemas.microsoft.com/office/drawing/2014/main" id="{99218464-928D-6246-A981-667A1555EBF8}"/>
              </a:ext>
            </a:extLst>
          </p:cNvPr>
          <p:cNvSpPr txBox="1">
            <a:spLocks/>
          </p:cNvSpPr>
          <p:nvPr/>
        </p:nvSpPr>
        <p:spPr>
          <a:xfrm>
            <a:off x="12701" y="590828"/>
            <a:ext cx="12166595" cy="651469"/>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2400" b="1" spc="300" dirty="0">
                <a:solidFill>
                  <a:schemeClr val="bg1"/>
                </a:solidFill>
                <a:latin typeface="Arial" panose="020B0604020202020204" pitchFamily="34" charset="0"/>
                <a:ea typeface="Century Gothic" charset="0"/>
                <a:cs typeface="Arial" panose="020B0604020202020204" pitchFamily="34" charset="0"/>
              </a:rPr>
              <a:t>RPA TYPICAL BUSINESS PROCESSES</a:t>
            </a:r>
            <a:endParaRPr lang="en-US" sz="1600" b="1" spc="300" dirty="0">
              <a:solidFill>
                <a:schemeClr val="bg1"/>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6936870D-2171-154D-B348-7AD583D557D0}"/>
              </a:ext>
            </a:extLst>
          </p:cNvPr>
          <p:cNvSpPr txBox="1">
            <a:spLocks/>
          </p:cNvSpPr>
          <p:nvPr/>
        </p:nvSpPr>
        <p:spPr>
          <a:xfrm>
            <a:off x="3852744" y="1189987"/>
            <a:ext cx="4486508" cy="7503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200" dirty="0">
                <a:solidFill>
                  <a:schemeClr val="bg1"/>
                </a:solidFill>
                <a:latin typeface="Arial" panose="020B0604020202020204" pitchFamily="34" charset="0"/>
                <a:ea typeface="Century Gothic" charset="0"/>
                <a:cs typeface="Arial" panose="020B0604020202020204" pitchFamily="34" charset="0"/>
              </a:rPr>
              <a:t>RPA can learn from people, eventually taking over the processes that humans once completed, at a much faster pace.</a:t>
            </a:r>
            <a:endParaRPr lang="en-US" sz="1000" dirty="0">
              <a:solidFill>
                <a:schemeClr val="bg1"/>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ABB0EAA-5986-5F40-84EB-877F816A46C9}"/>
              </a:ext>
            </a:extLst>
          </p:cNvPr>
          <p:cNvPicPr>
            <a:picLocks noChangeAspect="1"/>
          </p:cNvPicPr>
          <p:nvPr/>
        </p:nvPicPr>
        <p:blipFill>
          <a:blip r:embed="rId4"/>
          <a:stretch>
            <a:fillRect/>
          </a:stretch>
        </p:blipFill>
        <p:spPr>
          <a:xfrm>
            <a:off x="2543442" y="2432630"/>
            <a:ext cx="747289" cy="533778"/>
          </a:xfrm>
          <a:prstGeom prst="rect">
            <a:avLst/>
          </a:prstGeom>
        </p:spPr>
      </p:pic>
      <p:pic>
        <p:nvPicPr>
          <p:cNvPr id="4" name="Picture 3">
            <a:extLst>
              <a:ext uri="{FF2B5EF4-FFF2-40B4-BE49-F238E27FC236}">
                <a16:creationId xmlns:a16="http://schemas.microsoft.com/office/drawing/2014/main" id="{77CD78EB-4FEE-9540-BEEF-CCA1986FD2E5}"/>
              </a:ext>
            </a:extLst>
          </p:cNvPr>
          <p:cNvPicPr>
            <a:picLocks noChangeAspect="1"/>
          </p:cNvPicPr>
          <p:nvPr/>
        </p:nvPicPr>
        <p:blipFill>
          <a:blip r:embed="rId5"/>
          <a:stretch>
            <a:fillRect/>
          </a:stretch>
        </p:blipFill>
        <p:spPr>
          <a:xfrm>
            <a:off x="5813073" y="2410801"/>
            <a:ext cx="420459" cy="555607"/>
          </a:xfrm>
          <a:prstGeom prst="rect">
            <a:avLst/>
          </a:prstGeom>
        </p:spPr>
      </p:pic>
      <p:pic>
        <p:nvPicPr>
          <p:cNvPr id="5" name="Picture 4">
            <a:extLst>
              <a:ext uri="{FF2B5EF4-FFF2-40B4-BE49-F238E27FC236}">
                <a16:creationId xmlns:a16="http://schemas.microsoft.com/office/drawing/2014/main" id="{B4CCA17F-A06B-5D41-82FD-56340CDD69F3}"/>
              </a:ext>
            </a:extLst>
          </p:cNvPr>
          <p:cNvPicPr>
            <a:picLocks noChangeAspect="1"/>
          </p:cNvPicPr>
          <p:nvPr/>
        </p:nvPicPr>
        <p:blipFill>
          <a:blip r:embed="rId6"/>
          <a:stretch>
            <a:fillRect/>
          </a:stretch>
        </p:blipFill>
        <p:spPr>
          <a:xfrm>
            <a:off x="8963719" y="2468406"/>
            <a:ext cx="615179" cy="498002"/>
          </a:xfrm>
          <a:prstGeom prst="rect">
            <a:avLst/>
          </a:prstGeom>
        </p:spPr>
      </p:pic>
      <p:pic>
        <p:nvPicPr>
          <p:cNvPr id="7" name="Picture 6">
            <a:extLst>
              <a:ext uri="{FF2B5EF4-FFF2-40B4-BE49-F238E27FC236}">
                <a16:creationId xmlns:a16="http://schemas.microsoft.com/office/drawing/2014/main" id="{45ACE1B6-C9FB-814A-AD6F-E9649F25542B}"/>
              </a:ext>
            </a:extLst>
          </p:cNvPr>
          <p:cNvPicPr>
            <a:picLocks noChangeAspect="1"/>
          </p:cNvPicPr>
          <p:nvPr/>
        </p:nvPicPr>
        <p:blipFill>
          <a:blip r:embed="rId7"/>
          <a:stretch>
            <a:fillRect/>
          </a:stretch>
        </p:blipFill>
        <p:spPr>
          <a:xfrm>
            <a:off x="2644036" y="4188642"/>
            <a:ext cx="546100" cy="444500"/>
          </a:xfrm>
          <a:prstGeom prst="rect">
            <a:avLst/>
          </a:prstGeom>
        </p:spPr>
      </p:pic>
      <p:pic>
        <p:nvPicPr>
          <p:cNvPr id="8" name="Picture 7">
            <a:extLst>
              <a:ext uri="{FF2B5EF4-FFF2-40B4-BE49-F238E27FC236}">
                <a16:creationId xmlns:a16="http://schemas.microsoft.com/office/drawing/2014/main" id="{F9EC5E47-547E-834B-8A4A-027A375E04F9}"/>
              </a:ext>
            </a:extLst>
          </p:cNvPr>
          <p:cNvPicPr>
            <a:picLocks noChangeAspect="1"/>
          </p:cNvPicPr>
          <p:nvPr/>
        </p:nvPicPr>
        <p:blipFill>
          <a:blip r:embed="rId8"/>
          <a:stretch>
            <a:fillRect/>
          </a:stretch>
        </p:blipFill>
        <p:spPr>
          <a:xfrm>
            <a:off x="5821471" y="4153814"/>
            <a:ext cx="419100" cy="457200"/>
          </a:xfrm>
          <a:prstGeom prst="rect">
            <a:avLst/>
          </a:prstGeom>
        </p:spPr>
      </p:pic>
      <p:pic>
        <p:nvPicPr>
          <p:cNvPr id="9" name="Picture 8">
            <a:extLst>
              <a:ext uri="{FF2B5EF4-FFF2-40B4-BE49-F238E27FC236}">
                <a16:creationId xmlns:a16="http://schemas.microsoft.com/office/drawing/2014/main" id="{5A5153AF-B6F6-194D-A472-61CFBFFF30E1}"/>
              </a:ext>
            </a:extLst>
          </p:cNvPr>
          <p:cNvPicPr>
            <a:picLocks noChangeAspect="1"/>
          </p:cNvPicPr>
          <p:nvPr/>
        </p:nvPicPr>
        <p:blipFill>
          <a:blip r:embed="rId9"/>
          <a:stretch>
            <a:fillRect/>
          </a:stretch>
        </p:blipFill>
        <p:spPr>
          <a:xfrm>
            <a:off x="8963719" y="4089080"/>
            <a:ext cx="685800" cy="558800"/>
          </a:xfrm>
          <a:prstGeom prst="rect">
            <a:avLst/>
          </a:prstGeom>
        </p:spPr>
      </p:pic>
      <p:sp>
        <p:nvSpPr>
          <p:cNvPr id="15" name="Title 1">
            <a:extLst>
              <a:ext uri="{FF2B5EF4-FFF2-40B4-BE49-F238E27FC236}">
                <a16:creationId xmlns:a16="http://schemas.microsoft.com/office/drawing/2014/main" id="{2F1E7630-11A1-3F4C-842E-6BA315D16EBE}"/>
              </a:ext>
            </a:extLst>
          </p:cNvPr>
          <p:cNvSpPr txBox="1">
            <a:spLocks/>
          </p:cNvSpPr>
          <p:nvPr/>
        </p:nvSpPr>
        <p:spPr>
          <a:xfrm>
            <a:off x="2044019" y="3115027"/>
            <a:ext cx="1746133" cy="7949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400" b="1" dirty="0">
                <a:solidFill>
                  <a:schemeClr val="bg1"/>
                </a:solidFill>
                <a:latin typeface="Arial" panose="020B0604020202020204" pitchFamily="34" charset="0"/>
                <a:ea typeface="Century Gothic" charset="0"/>
                <a:cs typeface="Arial" panose="020B0604020202020204" pitchFamily="34" charset="0"/>
              </a:rPr>
              <a:t>Repetitive tasks </a:t>
            </a:r>
            <a:r>
              <a:rPr lang="en-US" sz="1200" dirty="0">
                <a:solidFill>
                  <a:schemeClr val="bg1"/>
                </a:solidFill>
                <a:latin typeface="Arial" panose="020B0604020202020204" pitchFamily="34" charset="0"/>
                <a:ea typeface="Century Gothic" charset="0"/>
                <a:cs typeface="Arial" panose="020B0604020202020204" pitchFamily="34" charset="0"/>
              </a:rPr>
              <a:t>Carried out 50-60</a:t>
            </a:r>
          </a:p>
          <a:p>
            <a:pPr algn="ctr"/>
            <a:r>
              <a:rPr lang="en-US" sz="1200" dirty="0">
                <a:solidFill>
                  <a:schemeClr val="bg1"/>
                </a:solidFill>
                <a:latin typeface="Arial" panose="020B0604020202020204" pitchFamily="34" charset="0"/>
                <a:ea typeface="Century Gothic" charset="0"/>
                <a:cs typeface="Arial" panose="020B0604020202020204" pitchFamily="34" charset="0"/>
              </a:rPr>
              <a:t>times a day</a:t>
            </a:r>
            <a:endParaRPr lang="en-US" sz="1000" dirty="0">
              <a:solidFill>
                <a:schemeClr val="bg1"/>
              </a:solidFill>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A8A5299-0CC0-AD43-81E4-F8C6419EA060}"/>
              </a:ext>
            </a:extLst>
          </p:cNvPr>
          <p:cNvSpPr txBox="1">
            <a:spLocks/>
          </p:cNvSpPr>
          <p:nvPr/>
        </p:nvSpPr>
        <p:spPr>
          <a:xfrm>
            <a:off x="5166360" y="3014684"/>
            <a:ext cx="1746133" cy="7949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400" b="1" dirty="0">
                <a:solidFill>
                  <a:schemeClr val="bg1"/>
                </a:solidFill>
                <a:latin typeface="Arial" panose="020B0604020202020204" pitchFamily="34" charset="0"/>
                <a:ea typeface="Century Gothic" charset="0"/>
                <a:cs typeface="Arial" panose="020B0604020202020204" pitchFamily="34" charset="0"/>
              </a:rPr>
              <a:t>Process List</a:t>
            </a:r>
          </a:p>
          <a:p>
            <a:pPr algn="ctr"/>
            <a:r>
              <a:rPr lang="en-US" sz="1200" dirty="0">
                <a:solidFill>
                  <a:schemeClr val="bg1"/>
                </a:solidFill>
                <a:latin typeface="Arial" panose="020B0604020202020204" pitchFamily="34" charset="0"/>
                <a:ea typeface="Century Gothic" charset="0"/>
                <a:cs typeface="Arial" panose="020B0604020202020204" pitchFamily="34" charset="0"/>
              </a:rPr>
              <a:t>and Storage</a:t>
            </a:r>
            <a:endParaRPr lang="en-US" sz="1000" dirty="0">
              <a:solidFill>
                <a:schemeClr val="bg1"/>
              </a:solidFill>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1AF3D2E8-D24D-6747-8572-9E0CB77DC9CA}"/>
              </a:ext>
            </a:extLst>
          </p:cNvPr>
          <p:cNvSpPr txBox="1">
            <a:spLocks/>
          </p:cNvSpPr>
          <p:nvPr/>
        </p:nvSpPr>
        <p:spPr>
          <a:xfrm>
            <a:off x="8389062" y="3130281"/>
            <a:ext cx="1746133" cy="7949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400" b="1" dirty="0">
                <a:solidFill>
                  <a:schemeClr val="bg1"/>
                </a:solidFill>
                <a:latin typeface="Arial" panose="020B0604020202020204" pitchFamily="34" charset="0"/>
                <a:ea typeface="Century Gothic" charset="0"/>
                <a:cs typeface="Arial" panose="020B0604020202020204" pitchFamily="34" charset="0"/>
              </a:rPr>
              <a:t>Data Entry</a:t>
            </a:r>
          </a:p>
          <a:p>
            <a:pPr algn="ctr"/>
            <a:r>
              <a:rPr lang="en-US" sz="1200" dirty="0">
                <a:solidFill>
                  <a:schemeClr val="bg1"/>
                </a:solidFill>
                <a:latin typeface="Arial" panose="020B0604020202020204" pitchFamily="34" charset="0"/>
                <a:ea typeface="Century Gothic" charset="0"/>
                <a:cs typeface="Arial" panose="020B0604020202020204" pitchFamily="34" charset="0"/>
              </a:rPr>
              <a:t>Periodic reporting</a:t>
            </a:r>
          </a:p>
          <a:p>
            <a:pPr algn="ctr"/>
            <a:r>
              <a:rPr lang="en-US" sz="1200" dirty="0">
                <a:solidFill>
                  <a:schemeClr val="bg1"/>
                </a:solidFill>
                <a:latin typeface="Arial" panose="020B0604020202020204" pitchFamily="34" charset="0"/>
                <a:ea typeface="Century Gothic" charset="0"/>
                <a:cs typeface="Arial" panose="020B0604020202020204" pitchFamily="34" charset="0"/>
              </a:rPr>
              <a:t>and data analysis</a:t>
            </a:r>
            <a:endParaRPr lang="en-US" sz="1000" dirty="0">
              <a:solidFill>
                <a:schemeClr val="bg1"/>
              </a:solidFill>
              <a:latin typeface="Arial" panose="020B0604020202020204" pitchFamily="34" charset="0"/>
              <a:cs typeface="Arial" panose="020B0604020202020204" pitchFamily="34" charset="0"/>
            </a:endParaRPr>
          </a:p>
        </p:txBody>
      </p:sp>
      <p:sp>
        <p:nvSpPr>
          <p:cNvPr id="21" name="Title 1">
            <a:extLst>
              <a:ext uri="{FF2B5EF4-FFF2-40B4-BE49-F238E27FC236}">
                <a16:creationId xmlns:a16="http://schemas.microsoft.com/office/drawing/2014/main" id="{07ABD2F0-4C9F-BF47-A39A-2CCEA3A30A25}"/>
              </a:ext>
            </a:extLst>
          </p:cNvPr>
          <p:cNvSpPr txBox="1">
            <a:spLocks/>
          </p:cNvSpPr>
          <p:nvPr/>
        </p:nvSpPr>
        <p:spPr>
          <a:xfrm>
            <a:off x="1747880" y="4681418"/>
            <a:ext cx="2338410" cy="7949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400" b="1" dirty="0">
                <a:solidFill>
                  <a:schemeClr val="bg1"/>
                </a:solidFill>
                <a:latin typeface="Arial" panose="020B0604020202020204" pitchFamily="34" charset="0"/>
                <a:ea typeface="Century Gothic" charset="0"/>
                <a:cs typeface="Arial" panose="020B0604020202020204" pitchFamily="34" charset="0"/>
              </a:rPr>
              <a:t>Mass Email Generation</a:t>
            </a:r>
          </a:p>
          <a:p>
            <a:pPr algn="ctr"/>
            <a:r>
              <a:rPr lang="en-US" sz="1200" dirty="0">
                <a:solidFill>
                  <a:schemeClr val="bg1"/>
                </a:solidFill>
                <a:latin typeface="Arial" panose="020B0604020202020204" pitchFamily="34" charset="0"/>
                <a:ea typeface="Century Gothic" charset="0"/>
                <a:cs typeface="Arial" panose="020B0604020202020204" pitchFamily="34" charset="0"/>
              </a:rPr>
              <a:t>Archiving and extracting</a:t>
            </a:r>
            <a:endParaRPr lang="en-US" sz="1000" dirty="0">
              <a:solidFill>
                <a:schemeClr val="bg1"/>
              </a:solidFill>
              <a:latin typeface="Arial" panose="020B0604020202020204" pitchFamily="34" charset="0"/>
              <a:cs typeface="Arial" panose="020B0604020202020204" pitchFamily="34" charset="0"/>
            </a:endParaRPr>
          </a:p>
        </p:txBody>
      </p:sp>
      <p:sp>
        <p:nvSpPr>
          <p:cNvPr id="22" name="Title 1">
            <a:extLst>
              <a:ext uri="{FF2B5EF4-FFF2-40B4-BE49-F238E27FC236}">
                <a16:creationId xmlns:a16="http://schemas.microsoft.com/office/drawing/2014/main" id="{E1516AE7-E9E4-C343-A496-4871614008EE}"/>
              </a:ext>
            </a:extLst>
          </p:cNvPr>
          <p:cNvSpPr txBox="1">
            <a:spLocks/>
          </p:cNvSpPr>
          <p:nvPr/>
        </p:nvSpPr>
        <p:spPr>
          <a:xfrm>
            <a:off x="4881372" y="4792930"/>
            <a:ext cx="2338410" cy="7949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400" b="1" dirty="0">
                <a:solidFill>
                  <a:schemeClr val="bg1"/>
                </a:solidFill>
                <a:latin typeface="Arial" panose="020B0604020202020204" pitchFamily="34" charset="0"/>
                <a:ea typeface="Century Gothic" charset="0"/>
                <a:cs typeface="Arial" panose="020B0604020202020204" pitchFamily="34" charset="0"/>
              </a:rPr>
              <a:t>Data Conversion</a:t>
            </a:r>
          </a:p>
          <a:p>
            <a:pPr algn="ctr"/>
            <a:r>
              <a:rPr lang="en-US" sz="1200" dirty="0">
                <a:solidFill>
                  <a:schemeClr val="bg1"/>
                </a:solidFill>
                <a:latin typeface="Arial" panose="020B0604020202020204" pitchFamily="34" charset="0"/>
                <a:ea typeface="Century Gothic" charset="0"/>
                <a:cs typeface="Arial" panose="020B0604020202020204" pitchFamily="34" charset="0"/>
              </a:rPr>
              <a:t>Conversion of data</a:t>
            </a:r>
          </a:p>
          <a:p>
            <a:pPr algn="ctr"/>
            <a:r>
              <a:rPr lang="en-US" sz="1200" dirty="0">
                <a:solidFill>
                  <a:schemeClr val="bg1"/>
                </a:solidFill>
                <a:latin typeface="Arial" panose="020B0604020202020204" pitchFamily="34" charset="0"/>
                <a:ea typeface="Century Gothic" charset="0"/>
                <a:cs typeface="Arial" panose="020B0604020202020204" pitchFamily="34" charset="0"/>
              </a:rPr>
              <a:t>format and graphics</a:t>
            </a:r>
            <a:endParaRPr lang="en-US" sz="1000" dirty="0">
              <a:solidFill>
                <a:schemeClr val="bg1"/>
              </a:solidFill>
              <a:latin typeface="Arial" panose="020B0604020202020204" pitchFamily="34" charset="0"/>
              <a:cs typeface="Arial" panose="020B0604020202020204" pitchFamily="34" charset="0"/>
            </a:endParaRPr>
          </a:p>
        </p:txBody>
      </p:sp>
      <p:sp>
        <p:nvSpPr>
          <p:cNvPr id="23" name="Title 1">
            <a:extLst>
              <a:ext uri="{FF2B5EF4-FFF2-40B4-BE49-F238E27FC236}">
                <a16:creationId xmlns:a16="http://schemas.microsoft.com/office/drawing/2014/main" id="{50A2C198-695B-B545-8DBB-F66166D6D80E}"/>
              </a:ext>
            </a:extLst>
          </p:cNvPr>
          <p:cNvSpPr txBox="1">
            <a:spLocks/>
          </p:cNvSpPr>
          <p:nvPr/>
        </p:nvSpPr>
        <p:spPr>
          <a:xfrm>
            <a:off x="8115226" y="4792930"/>
            <a:ext cx="2338410" cy="794925"/>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C2D800"/>
                </a:solidFill>
                <a:latin typeface="Arial Narrow"/>
                <a:ea typeface="+mj-ea"/>
                <a:cs typeface="Arial Narrow"/>
              </a:defRPr>
            </a:lvl1pPr>
          </a:lstStyle>
          <a:p>
            <a:pPr algn="ctr"/>
            <a:r>
              <a:rPr lang="en-US" sz="1400" b="1" dirty="0">
                <a:solidFill>
                  <a:schemeClr val="bg1"/>
                </a:solidFill>
                <a:latin typeface="Arial" panose="020B0604020202020204" pitchFamily="34" charset="0"/>
                <a:ea typeface="Century Gothic" charset="0"/>
                <a:cs typeface="Arial" panose="020B0604020202020204" pitchFamily="34" charset="0"/>
              </a:rPr>
              <a:t>ERP Transactions</a:t>
            </a:r>
          </a:p>
          <a:p>
            <a:pPr algn="ctr"/>
            <a:r>
              <a:rPr lang="en-US" sz="1200" dirty="0">
                <a:solidFill>
                  <a:schemeClr val="bg1"/>
                </a:solidFill>
                <a:latin typeface="Arial" panose="020B0604020202020204" pitchFamily="34" charset="0"/>
                <a:ea typeface="Century Gothic" charset="0"/>
                <a:cs typeface="Arial" panose="020B0604020202020204" pitchFamily="34" charset="0"/>
              </a:rPr>
              <a:t>ERP and other back</a:t>
            </a:r>
          </a:p>
          <a:p>
            <a:pPr algn="ctr"/>
            <a:r>
              <a:rPr lang="en-US" sz="1200" dirty="0">
                <a:solidFill>
                  <a:schemeClr val="bg1"/>
                </a:solidFill>
                <a:latin typeface="Arial" panose="020B0604020202020204" pitchFamily="34" charset="0"/>
                <a:ea typeface="Century Gothic" charset="0"/>
                <a:cs typeface="Arial" panose="020B0604020202020204" pitchFamily="34" charset="0"/>
              </a:rPr>
              <a:t>office transactions</a:t>
            </a:r>
            <a:endParaRPr lang="en-US" sz="1000" dirty="0">
              <a:solidFill>
                <a:schemeClr val="bg1"/>
              </a:solidFill>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97512C7E-93E4-40DA-A9AF-6341DED3C2DE}"/>
              </a:ext>
            </a:extLst>
          </p:cNvPr>
          <p:cNvSpPr>
            <a:spLocks noGrp="1"/>
          </p:cNvSpPr>
          <p:nvPr>
            <p:ph type="title"/>
          </p:nvPr>
        </p:nvSpPr>
        <p:spPr/>
        <p:txBody>
          <a:bodyPr/>
          <a:lstStyle/>
          <a:p>
            <a:endParaRPr lang="nl-NL"/>
          </a:p>
        </p:txBody>
      </p:sp>
      <p:sp>
        <p:nvSpPr>
          <p:cNvPr id="10" name="Content Placeholder 9">
            <a:extLst>
              <a:ext uri="{FF2B5EF4-FFF2-40B4-BE49-F238E27FC236}">
                <a16:creationId xmlns:a16="http://schemas.microsoft.com/office/drawing/2014/main" id="{B1D2DAAE-393D-477A-B8B1-B55C3E98F25C}"/>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4069818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44621" y="974"/>
            <a:ext cx="7439582" cy="6856540"/>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751555" y="974"/>
            <a:ext cx="7440445" cy="6856540"/>
          </a:xfrm>
          <a:prstGeom prst="rect">
            <a:avLst/>
          </a:prstGeom>
          <a:solidFill>
            <a:srgbClr val="ED7D31">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283779" y="1700863"/>
            <a:ext cx="4467777" cy="3456275"/>
          </a:xfrm>
          <a:prstGeom prst="rect">
            <a:avLst/>
          </a:prstGeom>
        </p:spPr>
        <p:txBody>
          <a:bodyPr wrap="square" anchor="ctr">
            <a:spAutoFit/>
          </a:bodyPr>
          <a:lstStyle/>
          <a:p>
            <a:pPr marL="0" marR="0" lvl="0" indent="0" algn="l" defTabSz="914225" rtl="0" eaLnBrk="1" fontAlgn="auto" latinLnBrk="0" hangingPunct="1">
              <a:lnSpc>
                <a:spcPct val="90000"/>
              </a:lnSpc>
              <a:spcBef>
                <a:spcPts val="0"/>
              </a:spcBef>
              <a:spcAft>
                <a:spcPts val="1470"/>
              </a:spcAft>
              <a:buClrTx/>
              <a:buSzTx/>
              <a:buFontTx/>
              <a:buNone/>
              <a:tabLst/>
              <a:defRPr/>
            </a:pPr>
            <a:r>
              <a:rPr kumimoji="0" lang="en-US" altLang="en-US" sz="5294" b="0" i="0" u="none" strike="noStrike" kern="0" cap="none" spc="0" normalizeH="0" baseline="0" noProof="0" dirty="0">
                <a:ln>
                  <a:noFill/>
                </a:ln>
                <a:solidFill>
                  <a:srgbClr val="ED7D31"/>
                </a:solidFill>
                <a:effectLst/>
                <a:uLnTx/>
                <a:uFillTx/>
                <a:latin typeface="Segoe UI Light"/>
                <a:ea typeface="+mn-ea"/>
                <a:cs typeface="+mn-cs"/>
              </a:rPr>
              <a:t>Microsoft Cognitive Services</a:t>
            </a:r>
          </a:p>
          <a:p>
            <a:pPr marL="0" marR="0" lvl="0" indent="0" algn="l" defTabSz="914225" rtl="0" eaLnBrk="1" fontAlgn="auto" latinLnBrk="0" hangingPunct="1">
              <a:lnSpc>
                <a:spcPct val="90000"/>
              </a:lnSpc>
              <a:spcBef>
                <a:spcPts val="0"/>
              </a:spcBef>
              <a:spcAft>
                <a:spcPts val="1470"/>
              </a:spcAft>
              <a:buClrTx/>
              <a:buSzTx/>
              <a:buFontTx/>
              <a:buNone/>
              <a:tabLst/>
              <a:defRPr/>
            </a:pPr>
            <a:r>
              <a:rPr kumimoji="0" lang="en-US" sz="3529" b="0" i="0" u="none" strike="noStrike" kern="0" cap="none" spc="0" normalizeH="0" baseline="0" noProof="0" dirty="0">
                <a:ln>
                  <a:noFill/>
                </a:ln>
                <a:solidFill>
                  <a:srgbClr val="D2D2D2">
                    <a:lumMod val="50000"/>
                  </a:srgbClr>
                </a:solidFill>
                <a:effectLst/>
                <a:uLnTx/>
                <a:uFillTx/>
                <a:latin typeface="Segoe UI Light"/>
                <a:ea typeface="+mn-ea"/>
                <a:cs typeface="+mn-cs"/>
              </a:rPr>
              <a:t>Give your apps </a:t>
            </a:r>
            <a:br>
              <a:rPr kumimoji="0" lang="en-US" sz="3529" b="0" i="0" u="none" strike="noStrike" kern="0" cap="none" spc="0" normalizeH="0" baseline="0" noProof="0" dirty="0">
                <a:ln>
                  <a:noFill/>
                </a:ln>
                <a:solidFill>
                  <a:srgbClr val="D2D2D2">
                    <a:lumMod val="50000"/>
                  </a:srgbClr>
                </a:solidFill>
                <a:effectLst/>
                <a:uLnTx/>
                <a:uFillTx/>
                <a:latin typeface="Segoe UI Light"/>
                <a:ea typeface="+mn-ea"/>
                <a:cs typeface="+mn-cs"/>
              </a:rPr>
            </a:br>
            <a:r>
              <a:rPr kumimoji="0" lang="en-US" sz="3529" b="0" i="0" u="none" strike="noStrike" kern="0" cap="none" spc="0" normalizeH="0" baseline="0" noProof="0" dirty="0">
                <a:ln>
                  <a:noFill/>
                </a:ln>
                <a:solidFill>
                  <a:srgbClr val="D2D2D2">
                    <a:lumMod val="50000"/>
                  </a:srgbClr>
                </a:solidFill>
                <a:effectLst/>
                <a:uLnTx/>
                <a:uFillTx/>
                <a:latin typeface="Segoe UI Light"/>
                <a:ea typeface="+mn-ea"/>
                <a:cs typeface="+mn-cs"/>
              </a:rPr>
              <a:t>a human side</a:t>
            </a:r>
          </a:p>
        </p:txBody>
      </p:sp>
      <p:sp>
        <p:nvSpPr>
          <p:cNvPr id="6" name="TextBox 5"/>
          <p:cNvSpPr txBox="1"/>
          <p:nvPr/>
        </p:nvSpPr>
        <p:spPr>
          <a:xfrm>
            <a:off x="6104150" y="441420"/>
            <a:ext cx="5071591" cy="1212672"/>
          </a:xfrm>
          <a:prstGeom prst="rect">
            <a:avLst/>
          </a:prstGeom>
          <a:noFill/>
        </p:spPr>
        <p:txBody>
          <a:bodyPr wrap="square" lIns="182854" tIns="146284" rIns="182854" bIns="146284"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7" name="TextBox 6"/>
          <p:cNvSpPr txBox="1"/>
          <p:nvPr/>
        </p:nvSpPr>
        <p:spPr>
          <a:xfrm>
            <a:off x="6104150" y="1632042"/>
            <a:ext cx="5071591" cy="1212672"/>
          </a:xfrm>
          <a:prstGeom prst="rect">
            <a:avLst/>
          </a:prstGeom>
          <a:noFill/>
        </p:spPr>
        <p:txBody>
          <a:bodyPr wrap="square" lIns="182854" tIns="146284" rIns="182854" bIns="146284"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9" name="TextBox 8"/>
          <p:cNvSpPr txBox="1"/>
          <p:nvPr/>
        </p:nvSpPr>
        <p:spPr>
          <a:xfrm>
            <a:off x="6104150" y="4013288"/>
            <a:ext cx="5071591" cy="1212672"/>
          </a:xfrm>
          <a:prstGeom prst="rect">
            <a:avLst/>
          </a:prstGeom>
          <a:noFill/>
        </p:spPr>
        <p:txBody>
          <a:bodyPr wrap="square" lIns="182854" tIns="146284" rIns="182854" bIns="146284"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8" name="TextBox 7"/>
          <p:cNvSpPr txBox="1"/>
          <p:nvPr/>
        </p:nvSpPr>
        <p:spPr>
          <a:xfrm>
            <a:off x="6104150" y="2822665"/>
            <a:ext cx="5071591" cy="1212672"/>
          </a:xfrm>
          <a:prstGeom prst="rect">
            <a:avLst/>
          </a:prstGeom>
          <a:noFill/>
        </p:spPr>
        <p:txBody>
          <a:bodyPr wrap="square" lIns="182854" tIns="146284" rIns="182854" bIns="146284"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rocess text and learn how to recognize what users want</a:t>
            </a:r>
          </a:p>
        </p:txBody>
      </p:sp>
      <p:sp>
        <p:nvSpPr>
          <p:cNvPr id="10" name="TextBox 9"/>
          <p:cNvSpPr txBox="1"/>
          <p:nvPr/>
        </p:nvSpPr>
        <p:spPr>
          <a:xfrm>
            <a:off x="6104150" y="5203911"/>
            <a:ext cx="5071591" cy="1212672"/>
          </a:xfrm>
          <a:prstGeom prst="rect">
            <a:avLst/>
          </a:prstGeom>
          <a:noFill/>
        </p:spPr>
        <p:txBody>
          <a:bodyPr wrap="square" lIns="182854" tIns="146284" rIns="182854" bIns="146284"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6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27" name="Freeform 22"/>
          <p:cNvSpPr>
            <a:spLocks noChangeAspect="1"/>
          </p:cNvSpPr>
          <p:nvPr/>
        </p:nvSpPr>
        <p:spPr bwMode="auto">
          <a:xfrm>
            <a:off x="5387911" y="610189"/>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 name="Freeform 18"/>
          <p:cNvSpPr>
            <a:spLocks noChangeAspect="1"/>
          </p:cNvSpPr>
          <p:nvPr/>
        </p:nvSpPr>
        <p:spPr bwMode="auto">
          <a:xfrm>
            <a:off x="5434441" y="1755908"/>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 name="Freeform 9"/>
          <p:cNvSpPr>
            <a:spLocks noChangeAspect="1"/>
          </p:cNvSpPr>
          <p:nvPr/>
        </p:nvSpPr>
        <p:spPr bwMode="auto">
          <a:xfrm>
            <a:off x="5498704" y="2977857"/>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0" name="Freeform 5"/>
          <p:cNvSpPr>
            <a:spLocks/>
          </p:cNvSpPr>
          <p:nvPr/>
        </p:nvSpPr>
        <p:spPr bwMode="auto">
          <a:xfrm>
            <a:off x="5463969" y="4126482"/>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31" name="Group 30"/>
          <p:cNvGrpSpPr/>
          <p:nvPr/>
        </p:nvGrpSpPr>
        <p:grpSpPr>
          <a:xfrm>
            <a:off x="5451751" y="5363049"/>
            <a:ext cx="537500" cy="528413"/>
            <a:chOff x="10832823" y="3353836"/>
            <a:chExt cx="537576" cy="528488"/>
          </a:xfrm>
        </p:grpSpPr>
        <p:sp>
          <p:nvSpPr>
            <p:cNvPr id="32"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3"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9042BC55-49BE-402A-AF19-90B1D8C1F5A4}"/>
              </a:ext>
            </a:extLst>
          </p:cNvPr>
          <p:cNvSpPr>
            <a:spLocks noGrp="1"/>
          </p:cNvSpPr>
          <p:nvPr>
            <p:ph type="title"/>
          </p:nvPr>
        </p:nvSpPr>
        <p:spPr/>
        <p:txBody>
          <a:bodyPr/>
          <a:lstStyle/>
          <a:p>
            <a:endParaRPr lang="nl-NL"/>
          </a:p>
        </p:txBody>
      </p:sp>
      <p:sp>
        <p:nvSpPr>
          <p:cNvPr id="12" name="Content Placeholder 11">
            <a:extLst>
              <a:ext uri="{FF2B5EF4-FFF2-40B4-BE49-F238E27FC236}">
                <a16:creationId xmlns:a16="http://schemas.microsoft.com/office/drawing/2014/main" id="{CD4062E9-4DC7-4B57-ACB3-FBE9A17ED3F8}"/>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50799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35766-7EF0-49E8-9432-3C997E1407AE}"/>
              </a:ext>
            </a:extLst>
          </p:cNvPr>
          <p:cNvSpPr>
            <a:spLocks noGrp="1"/>
          </p:cNvSpPr>
          <p:nvPr>
            <p:ph type="title"/>
          </p:nvPr>
        </p:nvSpPr>
        <p:spPr/>
        <p:txBody>
          <a:bodyPr/>
          <a:lstStyle/>
          <a:p>
            <a:r>
              <a:rPr lang="en-US" dirty="0"/>
              <a:t>Record with Power Automate Desktop</a:t>
            </a:r>
            <a:endParaRPr lang="nl-NL" dirty="0"/>
          </a:p>
        </p:txBody>
      </p:sp>
      <p:sp>
        <p:nvSpPr>
          <p:cNvPr id="3" name="Content Placeholder 2">
            <a:extLst>
              <a:ext uri="{FF2B5EF4-FFF2-40B4-BE49-F238E27FC236}">
                <a16:creationId xmlns:a16="http://schemas.microsoft.com/office/drawing/2014/main" id="{BEF23818-A870-41F3-A887-04BF2BEECA62}"/>
              </a:ext>
            </a:extLst>
          </p:cNvPr>
          <p:cNvSpPr>
            <a:spLocks noGrp="1"/>
          </p:cNvSpPr>
          <p:nvPr>
            <p:ph idx="1"/>
          </p:nvPr>
        </p:nvSpPr>
        <p:spPr/>
        <p:txBody>
          <a:bodyPr/>
          <a:lstStyle/>
          <a:p>
            <a:endParaRPr lang="nl-NL" dirty="0"/>
          </a:p>
        </p:txBody>
      </p:sp>
    </p:spTree>
    <p:extLst>
      <p:ext uri="{BB962C8B-B14F-4D97-AF65-F5344CB8AC3E}">
        <p14:creationId xmlns:p14="http://schemas.microsoft.com/office/powerpoint/2010/main" val="299879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35766-7EF0-49E8-9432-3C997E1407AE}"/>
              </a:ext>
            </a:extLst>
          </p:cNvPr>
          <p:cNvSpPr>
            <a:spLocks noGrp="1"/>
          </p:cNvSpPr>
          <p:nvPr>
            <p:ph type="title"/>
          </p:nvPr>
        </p:nvSpPr>
        <p:spPr/>
        <p:txBody>
          <a:bodyPr/>
          <a:lstStyle/>
          <a:p>
            <a:r>
              <a:rPr lang="en-US" dirty="0"/>
              <a:t>Personalize and extend</a:t>
            </a:r>
            <a:endParaRPr lang="nl-NL" dirty="0"/>
          </a:p>
        </p:txBody>
      </p:sp>
      <p:sp>
        <p:nvSpPr>
          <p:cNvPr id="3" name="Content Placeholder 2">
            <a:extLst>
              <a:ext uri="{FF2B5EF4-FFF2-40B4-BE49-F238E27FC236}">
                <a16:creationId xmlns:a16="http://schemas.microsoft.com/office/drawing/2014/main" id="{BEF23818-A870-41F3-A887-04BF2BEECA62}"/>
              </a:ext>
            </a:extLst>
          </p:cNvPr>
          <p:cNvSpPr>
            <a:spLocks noGrp="1"/>
          </p:cNvSpPr>
          <p:nvPr>
            <p:ph idx="1"/>
          </p:nvPr>
        </p:nvSpPr>
        <p:spPr/>
        <p:txBody>
          <a:bodyPr/>
          <a:lstStyle/>
          <a:p>
            <a:endParaRPr lang="nl-NL" dirty="0"/>
          </a:p>
        </p:txBody>
      </p:sp>
    </p:spTree>
    <p:extLst>
      <p:ext uri="{BB962C8B-B14F-4D97-AF65-F5344CB8AC3E}">
        <p14:creationId xmlns:p14="http://schemas.microsoft.com/office/powerpoint/2010/main" val="27540482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0D0FD-6823-4577-9C14-296DB35F1790}"/>
              </a:ext>
            </a:extLst>
          </p:cNvPr>
          <p:cNvSpPr>
            <a:spLocks noGrp="1"/>
          </p:cNvSpPr>
          <p:nvPr>
            <p:ph type="title"/>
          </p:nvPr>
        </p:nvSpPr>
        <p:spPr/>
        <p:txBody>
          <a:bodyPr/>
          <a:lstStyle/>
          <a:p>
            <a:endParaRPr lang="nl-NL"/>
          </a:p>
        </p:txBody>
      </p:sp>
      <p:pic>
        <p:nvPicPr>
          <p:cNvPr id="5" name="Content Placeholder 4">
            <a:extLst>
              <a:ext uri="{FF2B5EF4-FFF2-40B4-BE49-F238E27FC236}">
                <a16:creationId xmlns:a16="http://schemas.microsoft.com/office/drawing/2014/main" id="{4194F9D3-2251-4D09-A790-6F87AE22CAD0}"/>
              </a:ext>
            </a:extLst>
          </p:cNvPr>
          <p:cNvPicPr>
            <a:picLocks noGrp="1" noChangeAspect="1"/>
          </p:cNvPicPr>
          <p:nvPr>
            <p:ph idx="1"/>
          </p:nvPr>
        </p:nvPicPr>
        <p:blipFill>
          <a:blip r:embed="rId2"/>
          <a:stretch>
            <a:fillRect/>
          </a:stretch>
        </p:blipFill>
        <p:spPr>
          <a:xfrm>
            <a:off x="1330584" y="1098550"/>
            <a:ext cx="9662594" cy="5078413"/>
          </a:xfrm>
        </p:spPr>
      </p:pic>
    </p:spTree>
    <p:extLst>
      <p:ext uri="{BB962C8B-B14F-4D97-AF65-F5344CB8AC3E}">
        <p14:creationId xmlns:p14="http://schemas.microsoft.com/office/powerpoint/2010/main" val="316990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FF954-053B-4E37-B2C5-6CE5AD657E90}"/>
              </a:ext>
            </a:extLst>
          </p:cNvPr>
          <p:cNvSpPr>
            <a:spLocks noGrp="1"/>
          </p:cNvSpPr>
          <p:nvPr>
            <p:ph type="title"/>
          </p:nvPr>
        </p:nvSpPr>
        <p:spPr/>
        <p:txBody>
          <a:bodyPr/>
          <a:lstStyle/>
          <a:p>
            <a:r>
              <a:rPr lang="en-US" dirty="0"/>
              <a:t>More control with Power Automate</a:t>
            </a:r>
            <a:endParaRPr lang="nl-NL" dirty="0"/>
          </a:p>
        </p:txBody>
      </p:sp>
      <p:sp>
        <p:nvSpPr>
          <p:cNvPr id="3" name="Content Placeholder 2">
            <a:extLst>
              <a:ext uri="{FF2B5EF4-FFF2-40B4-BE49-F238E27FC236}">
                <a16:creationId xmlns:a16="http://schemas.microsoft.com/office/drawing/2014/main" id="{8090E0A8-3FDA-4AF5-82A4-ABDB7AB99770}"/>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25400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5F505-A72B-47ED-90B5-3A51A6BF7C68}"/>
              </a:ext>
            </a:extLst>
          </p:cNvPr>
          <p:cNvSpPr>
            <a:spLocks noGrp="1"/>
          </p:cNvSpPr>
          <p:nvPr>
            <p:ph type="title"/>
          </p:nvPr>
        </p:nvSpPr>
        <p:spPr/>
        <p:txBody>
          <a:bodyPr/>
          <a:lstStyle/>
          <a:p>
            <a:r>
              <a:rPr lang="en-US" dirty="0"/>
              <a:t>Let AI help you</a:t>
            </a:r>
            <a:endParaRPr lang="nl-NL" dirty="0"/>
          </a:p>
        </p:txBody>
      </p:sp>
      <p:sp>
        <p:nvSpPr>
          <p:cNvPr id="3" name="Content Placeholder 2">
            <a:extLst>
              <a:ext uri="{FF2B5EF4-FFF2-40B4-BE49-F238E27FC236}">
                <a16:creationId xmlns:a16="http://schemas.microsoft.com/office/drawing/2014/main" id="{D31086E3-B0E4-429C-80EF-36C3F8FB5158}"/>
              </a:ext>
            </a:extLst>
          </p:cNvPr>
          <p:cNvSpPr>
            <a:spLocks noGrp="1"/>
          </p:cNvSpPr>
          <p:nvPr>
            <p:ph idx="1"/>
          </p:nvPr>
        </p:nvSpPr>
        <p:spPr/>
        <p:txBody>
          <a:bodyPr/>
          <a:lstStyle/>
          <a:p>
            <a:endParaRPr lang="nl-NL" dirty="0"/>
          </a:p>
        </p:txBody>
      </p:sp>
    </p:spTree>
    <p:extLst>
      <p:ext uri="{BB962C8B-B14F-4D97-AF65-F5344CB8AC3E}">
        <p14:creationId xmlns:p14="http://schemas.microsoft.com/office/powerpoint/2010/main" val="151704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5F505-A72B-47ED-90B5-3A51A6BF7C68}"/>
              </a:ext>
            </a:extLst>
          </p:cNvPr>
          <p:cNvSpPr>
            <a:spLocks noGrp="1"/>
          </p:cNvSpPr>
          <p:nvPr>
            <p:ph type="title"/>
          </p:nvPr>
        </p:nvSpPr>
        <p:spPr/>
        <p:txBody>
          <a:bodyPr/>
          <a:lstStyle/>
          <a:p>
            <a:r>
              <a:rPr lang="en-US" dirty="0"/>
              <a:t>Use bots for natural communication</a:t>
            </a:r>
            <a:endParaRPr lang="nl-NL" dirty="0"/>
          </a:p>
        </p:txBody>
      </p:sp>
      <p:sp>
        <p:nvSpPr>
          <p:cNvPr id="3" name="Content Placeholder 2">
            <a:extLst>
              <a:ext uri="{FF2B5EF4-FFF2-40B4-BE49-F238E27FC236}">
                <a16:creationId xmlns:a16="http://schemas.microsoft.com/office/drawing/2014/main" id="{D31086E3-B0E4-429C-80EF-36C3F8FB5158}"/>
              </a:ext>
            </a:extLst>
          </p:cNvPr>
          <p:cNvSpPr>
            <a:spLocks noGrp="1"/>
          </p:cNvSpPr>
          <p:nvPr>
            <p:ph idx="1"/>
          </p:nvPr>
        </p:nvSpPr>
        <p:spPr/>
        <p:txBody>
          <a:bodyPr/>
          <a:lstStyle/>
          <a:p>
            <a:endParaRPr lang="nl-NL" dirty="0"/>
          </a:p>
        </p:txBody>
      </p:sp>
    </p:spTree>
    <p:extLst>
      <p:ext uri="{BB962C8B-B14F-4D97-AF65-F5344CB8AC3E}">
        <p14:creationId xmlns:p14="http://schemas.microsoft.com/office/powerpoint/2010/main" val="15208468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0B71A4-F9A9-4FCE-915F-9706A3986EDD}"/>
              </a:ext>
            </a:extLst>
          </p:cNvPr>
          <p:cNvSpPr>
            <a:spLocks noGrp="1"/>
          </p:cNvSpPr>
          <p:nvPr>
            <p:ph type="title"/>
          </p:nvPr>
        </p:nvSpPr>
        <p:spPr/>
        <p:txBody>
          <a:bodyPr/>
          <a:lstStyle/>
          <a:p>
            <a:endParaRPr lang="nl-NL"/>
          </a:p>
        </p:txBody>
      </p:sp>
      <p:sp>
        <p:nvSpPr>
          <p:cNvPr id="3" name="Content Placeholder 2">
            <a:extLst>
              <a:ext uri="{FF2B5EF4-FFF2-40B4-BE49-F238E27FC236}">
                <a16:creationId xmlns:a16="http://schemas.microsoft.com/office/drawing/2014/main" id="{CE18DAF2-0FB6-4F71-B56F-D0BD9501E704}"/>
              </a:ext>
            </a:extLst>
          </p:cNvPr>
          <p:cNvSpPr>
            <a:spLocks noGrp="1"/>
          </p:cNvSpPr>
          <p:nvPr>
            <p:ph idx="1"/>
          </p:nvPr>
        </p:nvSpPr>
        <p:spPr/>
        <p:txBody>
          <a:bodyPr/>
          <a:lstStyle/>
          <a:p>
            <a:r>
              <a:rPr lang="en-US" dirty="0"/>
              <a:t>Power Automate Desktop</a:t>
            </a:r>
          </a:p>
          <a:p>
            <a:r>
              <a:rPr lang="en-US" dirty="0"/>
              <a:t>Form Recognizer</a:t>
            </a:r>
          </a:p>
          <a:p>
            <a:r>
              <a:rPr lang="en-US" dirty="0"/>
              <a:t>Translate</a:t>
            </a:r>
          </a:p>
          <a:p>
            <a:r>
              <a:rPr lang="en-US" dirty="0"/>
              <a:t>Approval flow in Power Automate</a:t>
            </a:r>
          </a:p>
          <a:p>
            <a:r>
              <a:rPr lang="en-US" dirty="0"/>
              <a:t>Teams integration</a:t>
            </a:r>
          </a:p>
          <a:p>
            <a:r>
              <a:rPr lang="en-US" dirty="0"/>
              <a:t>Calling out to Azure Functions via APIM</a:t>
            </a:r>
            <a:endParaRPr lang="nl-NL" dirty="0"/>
          </a:p>
        </p:txBody>
      </p:sp>
    </p:spTree>
    <p:extLst>
      <p:ext uri="{BB962C8B-B14F-4D97-AF65-F5344CB8AC3E}">
        <p14:creationId xmlns:p14="http://schemas.microsoft.com/office/powerpoint/2010/main" val="31504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4631C-1AE3-482B-B7B0-83E1CC3FA428}"/>
              </a:ext>
            </a:extLst>
          </p:cNvPr>
          <p:cNvSpPr>
            <a:spLocks noGrp="1"/>
          </p:cNvSpPr>
          <p:nvPr>
            <p:ph type="title"/>
          </p:nvPr>
        </p:nvSpPr>
        <p:spPr/>
        <p:txBody>
          <a:bodyPr/>
          <a:lstStyle/>
          <a:p>
            <a:r>
              <a:rPr lang="en-US" dirty="0"/>
              <a:t>Power Automate Desktop</a:t>
            </a:r>
            <a:endParaRPr lang="nl-NL" dirty="0"/>
          </a:p>
        </p:txBody>
      </p:sp>
      <p:sp>
        <p:nvSpPr>
          <p:cNvPr id="3" name="Content Placeholder 2">
            <a:extLst>
              <a:ext uri="{FF2B5EF4-FFF2-40B4-BE49-F238E27FC236}">
                <a16:creationId xmlns:a16="http://schemas.microsoft.com/office/drawing/2014/main" id="{42D917C4-E14B-43DC-A4E0-8FFDC2A887CE}"/>
              </a:ext>
            </a:extLst>
          </p:cNvPr>
          <p:cNvSpPr>
            <a:spLocks noGrp="1"/>
          </p:cNvSpPr>
          <p:nvPr>
            <p:ph idx="1"/>
          </p:nvPr>
        </p:nvSpPr>
        <p:spPr/>
        <p:txBody>
          <a:bodyPr/>
          <a:lstStyle/>
          <a:p>
            <a:r>
              <a:rPr lang="en-US" dirty="0"/>
              <a:t>Get hours from outlook or toggle or </a:t>
            </a:r>
            <a:r>
              <a:rPr lang="en-US" dirty="0" err="1"/>
              <a:t>clockify</a:t>
            </a:r>
            <a:endParaRPr lang="en-US" dirty="0"/>
          </a:p>
          <a:p>
            <a:r>
              <a:rPr lang="en-US" dirty="0"/>
              <a:t>Depending on customer, write hours to specific system, twice in </a:t>
            </a:r>
            <a:r>
              <a:rPr lang="en-US" dirty="0" err="1"/>
              <a:t>TimeChimp</a:t>
            </a:r>
            <a:r>
              <a:rPr lang="en-US" dirty="0"/>
              <a:t> (one </a:t>
            </a:r>
            <a:r>
              <a:rPr lang="en-US"/>
              <a:t>in day view, one in week view), </a:t>
            </a:r>
            <a:r>
              <a:rPr lang="en-US" dirty="0"/>
              <a:t>once in desktop app</a:t>
            </a:r>
          </a:p>
          <a:p>
            <a:r>
              <a:rPr lang="en-US" dirty="0"/>
              <a:t>Record Web flow</a:t>
            </a:r>
          </a:p>
          <a:p>
            <a:r>
              <a:rPr lang="en-US" dirty="0"/>
              <a:t>Use parameters</a:t>
            </a:r>
          </a:p>
          <a:p>
            <a:r>
              <a:rPr lang="en-US" dirty="0"/>
              <a:t>Use custom fields</a:t>
            </a:r>
            <a:endParaRPr lang="nl-NL" dirty="0"/>
          </a:p>
        </p:txBody>
      </p:sp>
    </p:spTree>
    <p:extLst>
      <p:ext uri="{BB962C8B-B14F-4D97-AF65-F5344CB8AC3E}">
        <p14:creationId xmlns:p14="http://schemas.microsoft.com/office/powerpoint/2010/main" val="9985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E76B-98B8-4D90-8AEA-7411FE79CE78}"/>
              </a:ext>
            </a:extLst>
          </p:cNvPr>
          <p:cNvSpPr>
            <a:spLocks noGrp="1"/>
          </p:cNvSpPr>
          <p:nvPr>
            <p:ph type="title"/>
          </p:nvPr>
        </p:nvSpPr>
        <p:spPr>
          <a:xfrm>
            <a:off x="7209446" y="1396289"/>
            <a:ext cx="4399106" cy="1325563"/>
          </a:xfrm>
        </p:spPr>
        <p:txBody>
          <a:bodyPr vert="horz" lIns="91440" tIns="45720" rIns="91440" bIns="45720" rtlCol="0" anchor="ctr">
            <a:normAutofit/>
          </a:bodyPr>
          <a:lstStyle/>
          <a:p>
            <a:r>
              <a:rPr lang="en-US" sz="4400" dirty="0"/>
              <a:t>Thank You!</a:t>
            </a:r>
          </a:p>
        </p:txBody>
      </p:sp>
      <p:sp>
        <p:nvSpPr>
          <p:cNvPr id="20" name="Freeform: Shape 22">
            <a:extLst>
              <a:ext uri="{FF2B5EF4-FFF2-40B4-BE49-F238E27FC236}">
                <a16:creationId xmlns:a16="http://schemas.microsoft.com/office/drawing/2014/main" id="{2EEE8F11-3582-44B7-9869-F2D26D7DD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4133221" cy="3548529"/>
          </a:xfrm>
          <a:custGeom>
            <a:avLst/>
            <a:gdLst>
              <a:gd name="connsiteX0" fmla="*/ 0 w 4133221"/>
              <a:gd name="connsiteY0" fmla="*/ 0 h 3548529"/>
              <a:gd name="connsiteX1" fmla="*/ 3798429 w 4133221"/>
              <a:gd name="connsiteY1" fmla="*/ 0 h 3548529"/>
              <a:gd name="connsiteX2" fmla="*/ 3850140 w 4133221"/>
              <a:gd name="connsiteY2" fmla="*/ 85119 h 3548529"/>
              <a:gd name="connsiteX3" fmla="*/ 4133221 w 4133221"/>
              <a:gd name="connsiteY3" fmla="*/ 1203093 h 3548529"/>
              <a:gd name="connsiteX4" fmla="*/ 1787785 w 4133221"/>
              <a:gd name="connsiteY4" fmla="*/ 3548529 h 3548529"/>
              <a:gd name="connsiteX5" fmla="*/ 129311 w 4133221"/>
              <a:gd name="connsiteY5" fmla="*/ 2861567 h 3548529"/>
              <a:gd name="connsiteX6" fmla="*/ 0 w 4133221"/>
              <a:gd name="connsiteY6" fmla="*/ 2719289 h 354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3221" h="3548529">
                <a:moveTo>
                  <a:pt x="0" y="0"/>
                </a:moveTo>
                <a:lnTo>
                  <a:pt x="3798429" y="0"/>
                </a:lnTo>
                <a:lnTo>
                  <a:pt x="3850140" y="85119"/>
                </a:lnTo>
                <a:cubicBezTo>
                  <a:pt x="4030674" y="417451"/>
                  <a:pt x="4133221" y="798296"/>
                  <a:pt x="4133221" y="1203093"/>
                </a:cubicBezTo>
                <a:cubicBezTo>
                  <a:pt x="4133221" y="2498442"/>
                  <a:pt x="3083134" y="3548529"/>
                  <a:pt x="1787785" y="3548529"/>
                </a:cubicBezTo>
                <a:cubicBezTo>
                  <a:pt x="1140111" y="3548529"/>
                  <a:pt x="553752" y="3286007"/>
                  <a:pt x="129311" y="2861567"/>
                </a:cubicBezTo>
                <a:lnTo>
                  <a:pt x="0" y="2719289"/>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4">
            <a:extLst>
              <a:ext uri="{FF2B5EF4-FFF2-40B4-BE49-F238E27FC236}">
                <a16:creationId xmlns:a16="http://schemas.microsoft.com/office/drawing/2014/main" id="{2141F1CC-6A53-4BCF-9127-AABB52E249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842188"/>
            <a:ext cx="3321156" cy="3015812"/>
          </a:xfrm>
          <a:custGeom>
            <a:avLst/>
            <a:gdLst>
              <a:gd name="connsiteX0" fmla="*/ 1359768 w 3321156"/>
              <a:gd name="connsiteY0" fmla="*/ 0 h 3015812"/>
              <a:gd name="connsiteX1" fmla="*/ 3321156 w 3321156"/>
              <a:gd name="connsiteY1" fmla="*/ 1961388 h 3015812"/>
              <a:gd name="connsiteX2" fmla="*/ 3084427 w 3321156"/>
              <a:gd name="connsiteY2" fmla="*/ 2896302 h 3015812"/>
              <a:gd name="connsiteX3" fmla="*/ 3011823 w 3321156"/>
              <a:gd name="connsiteY3" fmla="*/ 3015812 h 3015812"/>
              <a:gd name="connsiteX4" fmla="*/ 0 w 3321156"/>
              <a:gd name="connsiteY4" fmla="*/ 3015812 h 3015812"/>
              <a:gd name="connsiteX5" fmla="*/ 0 w 3321156"/>
              <a:gd name="connsiteY5" fmla="*/ 549808 h 3015812"/>
              <a:gd name="connsiteX6" fmla="*/ 112143 w 3321156"/>
              <a:gd name="connsiteY6" fmla="*/ 447886 h 3015812"/>
              <a:gd name="connsiteX7" fmla="*/ 1359768 w 3321156"/>
              <a:gd name="connsiteY7" fmla="*/ 0 h 301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1156" h="3015812">
                <a:moveTo>
                  <a:pt x="1359768" y="0"/>
                </a:moveTo>
                <a:cubicBezTo>
                  <a:pt x="2443013" y="0"/>
                  <a:pt x="3321156" y="878143"/>
                  <a:pt x="3321156" y="1961388"/>
                </a:cubicBezTo>
                <a:cubicBezTo>
                  <a:pt x="3321156" y="2299902"/>
                  <a:pt x="3235400" y="2618387"/>
                  <a:pt x="3084427" y="2896302"/>
                </a:cubicBezTo>
                <a:lnTo>
                  <a:pt x="3011823" y="3015812"/>
                </a:lnTo>
                <a:lnTo>
                  <a:pt x="0" y="3015812"/>
                </a:lnTo>
                <a:lnTo>
                  <a:pt x="0" y="549808"/>
                </a:lnTo>
                <a:lnTo>
                  <a:pt x="112143" y="447886"/>
                </a:lnTo>
                <a:cubicBezTo>
                  <a:pt x="451187" y="168082"/>
                  <a:pt x="885848" y="0"/>
                  <a:pt x="1359768"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6">
            <a:extLst>
              <a:ext uri="{FF2B5EF4-FFF2-40B4-BE49-F238E27FC236}">
                <a16:creationId xmlns:a16="http://schemas.microsoft.com/office/drawing/2014/main" id="{C20C2C41-D9A8-45BE-9E21-91268EC186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07251"/>
            <a:ext cx="3155071" cy="2850749"/>
          </a:xfrm>
          <a:custGeom>
            <a:avLst/>
            <a:gdLst>
              <a:gd name="connsiteX0" fmla="*/ 1358746 w 3155071"/>
              <a:gd name="connsiteY0" fmla="*/ 0 h 2850749"/>
              <a:gd name="connsiteX1" fmla="*/ 3155071 w 3155071"/>
              <a:gd name="connsiteY1" fmla="*/ 1796325 h 2850749"/>
              <a:gd name="connsiteX2" fmla="*/ 2848287 w 3155071"/>
              <a:gd name="connsiteY2" fmla="*/ 2800668 h 2850749"/>
              <a:gd name="connsiteX3" fmla="*/ 2810837 w 3155071"/>
              <a:gd name="connsiteY3" fmla="*/ 2850749 h 2850749"/>
              <a:gd name="connsiteX4" fmla="*/ 0 w 3155071"/>
              <a:gd name="connsiteY4" fmla="*/ 2850749 h 2850749"/>
              <a:gd name="connsiteX5" fmla="*/ 0 w 3155071"/>
              <a:gd name="connsiteY5" fmla="*/ 623564 h 2850749"/>
              <a:gd name="connsiteX6" fmla="*/ 88552 w 3155071"/>
              <a:gd name="connsiteY6" fmla="*/ 526132 h 2850749"/>
              <a:gd name="connsiteX7" fmla="*/ 1358746 w 3155071"/>
              <a:gd name="connsiteY7" fmla="*/ 0 h 285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5071" h="2850749">
                <a:moveTo>
                  <a:pt x="1358746" y="0"/>
                </a:moveTo>
                <a:cubicBezTo>
                  <a:pt x="2350829" y="0"/>
                  <a:pt x="3155071" y="804242"/>
                  <a:pt x="3155071" y="1796325"/>
                </a:cubicBezTo>
                <a:cubicBezTo>
                  <a:pt x="3155071" y="2168356"/>
                  <a:pt x="3041975" y="2513972"/>
                  <a:pt x="2848287" y="2800668"/>
                </a:cubicBezTo>
                <a:lnTo>
                  <a:pt x="2810837" y="2850749"/>
                </a:lnTo>
                <a:lnTo>
                  <a:pt x="0" y="2850749"/>
                </a:lnTo>
                <a:lnTo>
                  <a:pt x="0" y="623564"/>
                </a:lnTo>
                <a:lnTo>
                  <a:pt x="88552" y="526132"/>
                </a:lnTo>
                <a:cubicBezTo>
                  <a:pt x="413623" y="201061"/>
                  <a:pt x="862705" y="0"/>
                  <a:pt x="135874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Oval 28">
            <a:extLst>
              <a:ext uri="{FF2B5EF4-FFF2-40B4-BE49-F238E27FC236}">
                <a16:creationId xmlns:a16="http://schemas.microsoft.com/office/drawing/2014/main" id="{561B2B49-7142-4CA8-A929-4671548E6A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36095" y="2496668"/>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Oval 30">
            <a:extLst>
              <a:ext uri="{FF2B5EF4-FFF2-40B4-BE49-F238E27FC236}">
                <a16:creationId xmlns:a16="http://schemas.microsoft.com/office/drawing/2014/main" id="{B38B1FC8-38BF-4066-8F4A-12EEC1C1A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01748" y="2662321"/>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178B4B56-5CC4-4608-A9A9-996108D35B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967973" cy="3383280"/>
          </a:xfrm>
          <a:custGeom>
            <a:avLst/>
            <a:gdLst>
              <a:gd name="connsiteX0" fmla="*/ 0 w 3967973"/>
              <a:gd name="connsiteY0" fmla="*/ 0 h 3383280"/>
              <a:gd name="connsiteX1" fmla="*/ 3605273 w 3967973"/>
              <a:gd name="connsiteY1" fmla="*/ 0 h 3383280"/>
              <a:gd name="connsiteX2" fmla="*/ 3704836 w 3967973"/>
              <a:gd name="connsiteY2" fmla="*/ 163887 h 3383280"/>
              <a:gd name="connsiteX3" fmla="*/ 3967973 w 3967973"/>
              <a:gd name="connsiteY3" fmla="*/ 1203093 h 3383280"/>
              <a:gd name="connsiteX4" fmla="*/ 1787786 w 3967973"/>
              <a:gd name="connsiteY4" fmla="*/ 3383280 h 3383280"/>
              <a:gd name="connsiteX5" fmla="*/ 105448 w 3967973"/>
              <a:gd name="connsiteY5" fmla="*/ 2589894 h 3383280"/>
              <a:gd name="connsiteX6" fmla="*/ 0 w 3967973"/>
              <a:gd name="connsiteY6" fmla="*/ 2448881 h 338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7973" h="3383280">
                <a:moveTo>
                  <a:pt x="0" y="0"/>
                </a:moveTo>
                <a:lnTo>
                  <a:pt x="3605273" y="0"/>
                </a:lnTo>
                <a:lnTo>
                  <a:pt x="3704836" y="163887"/>
                </a:lnTo>
                <a:cubicBezTo>
                  <a:pt x="3872651" y="472804"/>
                  <a:pt x="3967973" y="826817"/>
                  <a:pt x="3967973" y="1203093"/>
                </a:cubicBezTo>
                <a:cubicBezTo>
                  <a:pt x="3967973" y="2407177"/>
                  <a:pt x="2991870" y="3383280"/>
                  <a:pt x="1787786" y="3383280"/>
                </a:cubicBezTo>
                <a:cubicBezTo>
                  <a:pt x="1110489" y="3383280"/>
                  <a:pt x="505326" y="3074435"/>
                  <a:pt x="105448" y="2589894"/>
                </a:cubicBezTo>
                <a:lnTo>
                  <a:pt x="0" y="244888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C413F6D-2B4F-4F91-A559-857AC1762A4D}"/>
              </a:ext>
            </a:extLst>
          </p:cNvPr>
          <p:cNvPicPr>
            <a:picLocks noChangeAspect="1"/>
          </p:cNvPicPr>
          <p:nvPr/>
        </p:nvPicPr>
        <p:blipFill>
          <a:blip r:embed="rId3"/>
          <a:stretch>
            <a:fillRect/>
          </a:stretch>
        </p:blipFill>
        <p:spPr>
          <a:xfrm>
            <a:off x="443058" y="276649"/>
            <a:ext cx="2721278" cy="2239280"/>
          </a:xfrm>
          <a:prstGeom prst="rect">
            <a:avLst/>
          </a:prstGeom>
        </p:spPr>
      </p:pic>
      <p:pic>
        <p:nvPicPr>
          <p:cNvPr id="14" name="Picture 2" descr="Image result for twitter logo">
            <a:extLst>
              <a:ext uri="{FF2B5EF4-FFF2-40B4-BE49-F238E27FC236}">
                <a16:creationId xmlns:a16="http://schemas.microsoft.com/office/drawing/2014/main" id="{17D8DC3E-938A-4B8E-9849-BB9EC563AC2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1142" y="4658549"/>
            <a:ext cx="2159475" cy="192193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linkedin logo">
            <a:extLst>
              <a:ext uri="{FF2B5EF4-FFF2-40B4-BE49-F238E27FC236}">
                <a16:creationId xmlns:a16="http://schemas.microsoft.com/office/drawing/2014/main" id="{CFB40FDA-39CD-4620-9C61-B9A00618B063}"/>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060390" y="3133476"/>
            <a:ext cx="1858273" cy="1858273"/>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7">
            <a:extLst>
              <a:ext uri="{FF2B5EF4-FFF2-40B4-BE49-F238E27FC236}">
                <a16:creationId xmlns:a16="http://schemas.microsoft.com/office/drawing/2014/main" id="{FA376D98-3522-4C69-910D-880684F4FAA0}"/>
              </a:ext>
            </a:extLst>
          </p:cNvPr>
          <p:cNvSpPr txBox="1">
            <a:spLocks/>
          </p:cNvSpPr>
          <p:nvPr/>
        </p:nvSpPr>
        <p:spPr>
          <a:xfrm>
            <a:off x="6669138" y="2871982"/>
            <a:ext cx="5481723" cy="3181684"/>
          </a:xfrm>
          <a:prstGeom prst="rect">
            <a:avLst/>
          </a:prstGeom>
        </p:spPr>
        <p:txBody>
          <a:bodyPr vert="horz" lIns="91440" tIns="45720" rIns="91440" bIns="45720" rtlCol="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6163" lvl="3" indent="0" defTabSz="914400">
              <a:lnSpc>
                <a:spcPct val="90000"/>
              </a:lnSpc>
              <a:buNone/>
            </a:pPr>
            <a:r>
              <a:rPr lang="en-US" sz="2000" dirty="0">
                <a:solidFill>
                  <a:schemeClr val="bg1"/>
                </a:solidFill>
              </a:rPr>
              <a:t>@</a:t>
            </a:r>
            <a:r>
              <a:rPr lang="en-US" sz="2000" dirty="0" err="1">
                <a:solidFill>
                  <a:schemeClr val="bg1"/>
                </a:solidFill>
              </a:rPr>
              <a:t>egrootenboer</a:t>
            </a:r>
            <a:endParaRPr lang="en-US" sz="2000" dirty="0">
              <a:solidFill>
                <a:schemeClr val="bg1"/>
              </a:solidFill>
            </a:endParaRPr>
          </a:p>
          <a:p>
            <a:pPr marL="146163" lvl="3" indent="0" defTabSz="914400">
              <a:lnSpc>
                <a:spcPct val="90000"/>
              </a:lnSpc>
              <a:buNone/>
            </a:pPr>
            <a:r>
              <a:rPr lang="en-US" sz="2000" dirty="0">
                <a:solidFill>
                  <a:schemeClr val="bg1"/>
                </a:solidFill>
              </a:rPr>
              <a:t>eldert@eldert.net</a:t>
            </a:r>
          </a:p>
          <a:p>
            <a:pPr marL="146163" lvl="3" indent="0" defTabSz="914400">
              <a:lnSpc>
                <a:spcPct val="90000"/>
              </a:lnSpc>
              <a:buNone/>
            </a:pPr>
            <a:r>
              <a:rPr lang="en-US" sz="2000" dirty="0">
                <a:solidFill>
                  <a:schemeClr val="bg1"/>
                </a:solidFill>
              </a:rPr>
              <a:t>https://www.linkedin.com/in/eldert-grootenboer</a:t>
            </a:r>
          </a:p>
        </p:txBody>
      </p:sp>
    </p:spTree>
    <p:extLst>
      <p:ext uri="{BB962C8B-B14F-4D97-AF65-F5344CB8AC3E}">
        <p14:creationId xmlns:p14="http://schemas.microsoft.com/office/powerpoint/2010/main" val="89175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0" end="0"/>
                                            </p:txEl>
                                          </p:spTgt>
                                        </p:tgtEl>
                                        <p:attrNameLst>
                                          <p:attrName>style.visibility</p:attrName>
                                        </p:attrNameLst>
                                      </p:cBhvr>
                                      <p:to>
                                        <p:strVal val="visible"/>
                                      </p:to>
                                    </p:set>
                                    <p:animEffect transition="in" filter="fade">
                                      <p:cBhvr>
                                        <p:cTn id="10" dur="500"/>
                                        <p:tgtEl>
                                          <p:spTgt spid="16">
                                            <p:txEl>
                                              <p:pRg st="0" end="0"/>
                                            </p:txEl>
                                          </p:spTgt>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par>
                                <p:cTn id="15" presetID="10" presetClass="entr" presetSubtype="0" fill="hold" nodeType="withEffect">
                                  <p:stCondLst>
                                    <p:cond delay="0"/>
                                  </p:stCondLst>
                                  <p:childTnLst>
                                    <p:set>
                                      <p:cBhvr>
                                        <p:cTn id="16" dur="1" fill="hold">
                                          <p:stCondLst>
                                            <p:cond delay="0"/>
                                          </p:stCondLst>
                                        </p:cTn>
                                        <p:tgtEl>
                                          <p:spTgt spid="16">
                                            <p:txEl>
                                              <p:pRg st="1" end="1"/>
                                            </p:txEl>
                                          </p:spTgt>
                                        </p:tgtEl>
                                        <p:attrNameLst>
                                          <p:attrName>style.visibility</p:attrName>
                                        </p:attrNameLst>
                                      </p:cBhvr>
                                      <p:to>
                                        <p:strVal val="visible"/>
                                      </p:to>
                                    </p:set>
                                    <p:animEffect transition="in" filter="fade">
                                      <p:cBhvr>
                                        <p:cTn id="17" dur="500"/>
                                        <p:tgtEl>
                                          <p:spTgt spid="16">
                                            <p:txEl>
                                              <p:pRg st="1" end="1"/>
                                            </p:txEl>
                                          </p:spTgt>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xEl>
                                              <p:pRg st="2" end="2"/>
                                            </p:txEl>
                                          </p:spTgt>
                                        </p:tgtEl>
                                        <p:attrNameLst>
                                          <p:attrName>style.visibility</p:attrName>
                                        </p:attrNameLst>
                                      </p:cBhvr>
                                      <p:to>
                                        <p:strVal val="visible"/>
                                      </p:to>
                                    </p:set>
                                    <p:animEffect transition="in" filter="fade">
                                      <p:cBhvr>
                                        <p:cTn id="24"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C89EE7-993A-48B2-BB3E-8F02C567E9A4}"/>
              </a:ext>
            </a:extLst>
          </p:cNvPr>
          <p:cNvSpPr>
            <a:spLocks noGrp="1"/>
          </p:cNvSpPr>
          <p:nvPr>
            <p:ph type="title"/>
          </p:nvPr>
        </p:nvSpPr>
        <p:spPr/>
        <p:txBody>
          <a:bodyPr/>
          <a:lstStyle/>
          <a:p>
            <a:endParaRPr lang="nl-NL"/>
          </a:p>
        </p:txBody>
      </p:sp>
      <p:sp>
        <p:nvSpPr>
          <p:cNvPr id="3" name="Content Placeholder 2">
            <a:extLst>
              <a:ext uri="{FF2B5EF4-FFF2-40B4-BE49-F238E27FC236}">
                <a16:creationId xmlns:a16="http://schemas.microsoft.com/office/drawing/2014/main" id="{192B588F-53E5-423B-BA35-DBC158116AEE}"/>
              </a:ext>
            </a:extLst>
          </p:cNvPr>
          <p:cNvSpPr>
            <a:spLocks noGrp="1"/>
          </p:cNvSpPr>
          <p:nvPr>
            <p:ph idx="1"/>
          </p:nvPr>
        </p:nvSpPr>
        <p:spPr/>
        <p:txBody>
          <a:bodyPr/>
          <a:lstStyle/>
          <a:p>
            <a:r>
              <a:rPr lang="en-US" dirty="0"/>
              <a:t>25% of tasks that can be automated, will be automated by 2024</a:t>
            </a:r>
            <a:endParaRPr lang="nl-NL" dirty="0"/>
          </a:p>
        </p:txBody>
      </p:sp>
    </p:spTree>
    <p:extLst>
      <p:ext uri="{BB962C8B-B14F-4D97-AF65-F5344CB8AC3E}">
        <p14:creationId xmlns:p14="http://schemas.microsoft.com/office/powerpoint/2010/main" val="285362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BCB7A2-CA06-4181-ADFA-CF05270A7045}"/>
              </a:ext>
            </a:extLst>
          </p:cNvPr>
          <p:cNvSpPr>
            <a:spLocks noGrp="1"/>
          </p:cNvSpPr>
          <p:nvPr>
            <p:ph type="title"/>
          </p:nvPr>
        </p:nvSpPr>
        <p:spPr/>
        <p:txBody>
          <a:bodyPr/>
          <a:lstStyle/>
          <a:p>
            <a:endParaRPr lang="nl-NL"/>
          </a:p>
        </p:txBody>
      </p:sp>
      <p:sp>
        <p:nvSpPr>
          <p:cNvPr id="6" name="Content Placeholder 5">
            <a:extLst>
              <a:ext uri="{FF2B5EF4-FFF2-40B4-BE49-F238E27FC236}">
                <a16:creationId xmlns:a16="http://schemas.microsoft.com/office/drawing/2014/main" id="{444DAFBE-2560-48A9-8EC4-15ACFC8B235E}"/>
              </a:ext>
            </a:extLst>
          </p:cNvPr>
          <p:cNvSpPr>
            <a:spLocks noGrp="1"/>
          </p:cNvSpPr>
          <p:nvPr>
            <p:ph idx="1"/>
          </p:nvPr>
        </p:nvSpPr>
        <p:spPr/>
        <p:txBody>
          <a:bodyPr/>
          <a:lstStyle/>
          <a:p>
            <a:endParaRPr lang="nl-NL"/>
          </a:p>
        </p:txBody>
      </p:sp>
      <p:pic>
        <p:nvPicPr>
          <p:cNvPr id="5" name="Picture 4">
            <a:extLst>
              <a:ext uri="{FF2B5EF4-FFF2-40B4-BE49-F238E27FC236}">
                <a16:creationId xmlns:a16="http://schemas.microsoft.com/office/drawing/2014/main" id="{7BC544BC-5674-4E33-A865-241CAB7BDD2E}"/>
              </a:ext>
            </a:extLst>
          </p:cNvPr>
          <p:cNvPicPr>
            <a:picLocks noChangeAspect="1"/>
          </p:cNvPicPr>
          <p:nvPr/>
        </p:nvPicPr>
        <p:blipFill>
          <a:blip r:embed="rId2"/>
          <a:stretch>
            <a:fillRect/>
          </a:stretch>
        </p:blipFill>
        <p:spPr>
          <a:xfrm>
            <a:off x="2441893" y="1036112"/>
            <a:ext cx="7308213" cy="4785775"/>
          </a:xfrm>
          <a:prstGeom prst="rect">
            <a:avLst/>
          </a:prstGeom>
        </p:spPr>
      </p:pic>
    </p:spTree>
    <p:extLst>
      <p:ext uri="{BB962C8B-B14F-4D97-AF65-F5344CB8AC3E}">
        <p14:creationId xmlns:p14="http://schemas.microsoft.com/office/powerpoint/2010/main" val="32998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E5361F-B950-4BC5-AAA6-430537BEF5BF}"/>
              </a:ext>
            </a:extLst>
          </p:cNvPr>
          <p:cNvSpPr>
            <a:spLocks noGrp="1"/>
          </p:cNvSpPr>
          <p:nvPr>
            <p:ph type="title"/>
          </p:nvPr>
        </p:nvSpPr>
        <p:spPr/>
        <p:txBody>
          <a:bodyPr/>
          <a:lstStyle/>
          <a:p>
            <a:endParaRPr lang="nl-NL"/>
          </a:p>
        </p:txBody>
      </p:sp>
      <p:sp>
        <p:nvSpPr>
          <p:cNvPr id="6" name="Content Placeholder 5">
            <a:extLst>
              <a:ext uri="{FF2B5EF4-FFF2-40B4-BE49-F238E27FC236}">
                <a16:creationId xmlns:a16="http://schemas.microsoft.com/office/drawing/2014/main" id="{7699F3CF-14B1-4B4E-B2CD-1B9DDBD587B2}"/>
              </a:ext>
            </a:extLst>
          </p:cNvPr>
          <p:cNvSpPr>
            <a:spLocks noGrp="1"/>
          </p:cNvSpPr>
          <p:nvPr>
            <p:ph idx="1"/>
          </p:nvPr>
        </p:nvSpPr>
        <p:spPr/>
        <p:txBody>
          <a:bodyPr/>
          <a:lstStyle/>
          <a:p>
            <a:endParaRPr lang="nl-NL"/>
          </a:p>
        </p:txBody>
      </p:sp>
      <p:pic>
        <p:nvPicPr>
          <p:cNvPr id="7170" name="Picture 2" descr="collaboration, colleagues, cooperation">
            <a:extLst>
              <a:ext uri="{FF2B5EF4-FFF2-40B4-BE49-F238E27FC236}">
                <a16:creationId xmlns:a16="http://schemas.microsoft.com/office/drawing/2014/main" id="{546978A9-2550-4D8A-A25E-0E2DF19B7B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831390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63630AC-FA73-4CBE-A344-802745ADBBB7}"/>
              </a:ext>
            </a:extLst>
          </p:cNvPr>
          <p:cNvSpPr txBox="1"/>
          <p:nvPr/>
        </p:nvSpPr>
        <p:spPr>
          <a:xfrm>
            <a:off x="0" y="103515"/>
            <a:ext cx="5311139" cy="954107"/>
          </a:xfrm>
          <a:prstGeom prst="rect">
            <a:avLst/>
          </a:prstGeom>
          <a:noFill/>
        </p:spPr>
        <p:txBody>
          <a:bodyPr wrap="square" rtlCol="0">
            <a:spAutoFit/>
          </a:bodyPr>
          <a:lstStyle/>
          <a:p>
            <a:r>
              <a:rPr lang="en-US" sz="2800" dirty="0">
                <a:solidFill>
                  <a:schemeClr val="bg1"/>
                </a:solidFill>
              </a:rPr>
              <a:t>people within the organization need to be empowered…</a:t>
            </a:r>
          </a:p>
        </p:txBody>
      </p:sp>
    </p:spTree>
    <p:extLst>
      <p:ext uri="{BB962C8B-B14F-4D97-AF65-F5344CB8AC3E}">
        <p14:creationId xmlns:p14="http://schemas.microsoft.com/office/powerpoint/2010/main" val="321128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Oval 112">
            <a:extLst>
              <a:ext uri="{FF2B5EF4-FFF2-40B4-BE49-F238E27FC236}">
                <a16:creationId xmlns:a16="http://schemas.microsoft.com/office/drawing/2014/main" id="{4D6BEEC6-CB93-46F2-BA4B-63EE6EC3FD44}"/>
              </a:ext>
            </a:extLst>
          </p:cNvPr>
          <p:cNvSpPr/>
          <p:nvPr/>
        </p:nvSpPr>
        <p:spPr bwMode="auto">
          <a:xfrm>
            <a:off x="3782568" y="1115568"/>
            <a:ext cx="4626864" cy="4626864"/>
          </a:xfrm>
          <a:prstGeom prst="ellipse">
            <a:avLst/>
          </a:prstGeom>
          <a:noFill/>
          <a:ln w="38100" cap="rnd" cmpd="sng" algn="ctr">
            <a:solidFill>
              <a:srgbClr val="0072C6"/>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E7A83197-4B55-4B0A-AFE5-94979B318266}"/>
              </a:ext>
            </a:extLst>
          </p:cNvPr>
          <p:cNvGrpSpPr/>
          <p:nvPr/>
        </p:nvGrpSpPr>
        <p:grpSpPr>
          <a:xfrm>
            <a:off x="7983377" y="2316685"/>
            <a:ext cx="914400" cy="2224631"/>
            <a:chOff x="8422049" y="3505176"/>
            <a:chExt cx="1606189" cy="811302"/>
          </a:xfrm>
        </p:grpSpPr>
        <p:cxnSp>
          <p:nvCxnSpPr>
            <p:cNvPr id="115" name="Straight Connector 114">
              <a:extLst>
                <a:ext uri="{FF2B5EF4-FFF2-40B4-BE49-F238E27FC236}">
                  <a16:creationId xmlns:a16="http://schemas.microsoft.com/office/drawing/2014/main" id="{56FEBB3B-01B5-47A2-A1C1-6DD29A502F49}"/>
                </a:ext>
              </a:extLst>
            </p:cNvPr>
            <p:cNvCxnSpPr/>
            <p:nvPr/>
          </p:nvCxnSpPr>
          <p:spPr>
            <a:xfrm>
              <a:off x="8422049" y="3910826"/>
              <a:ext cx="1606189" cy="0"/>
            </a:xfrm>
            <a:prstGeom prst="line">
              <a:avLst/>
            </a:prstGeom>
            <a:noFill/>
            <a:ln w="38100" cap="rnd" cmpd="sng" algn="ctr">
              <a:solidFill>
                <a:srgbClr val="002050"/>
              </a:solidFill>
              <a:prstDash val="solid"/>
              <a:headEnd type="none"/>
              <a:tailEnd type="none"/>
            </a:ln>
            <a:effectLst/>
          </p:spPr>
        </p:cxnSp>
        <p:cxnSp>
          <p:nvCxnSpPr>
            <p:cNvPr id="116" name="Straight Connector 115">
              <a:extLst>
                <a:ext uri="{FF2B5EF4-FFF2-40B4-BE49-F238E27FC236}">
                  <a16:creationId xmlns:a16="http://schemas.microsoft.com/office/drawing/2014/main" id="{24369BA5-A7F1-4E0F-AA01-DBCC2D66BFF8}"/>
                </a:ext>
              </a:extLst>
            </p:cNvPr>
            <p:cNvCxnSpPr/>
            <p:nvPr/>
          </p:nvCxnSpPr>
          <p:spPr>
            <a:xfrm>
              <a:off x="10028238" y="3505176"/>
              <a:ext cx="0" cy="811302"/>
            </a:xfrm>
            <a:prstGeom prst="line">
              <a:avLst/>
            </a:prstGeom>
            <a:noFill/>
            <a:ln w="38100" cap="rnd" cmpd="sng" algn="ctr">
              <a:solidFill>
                <a:srgbClr val="002050"/>
              </a:solidFill>
              <a:prstDash val="solid"/>
              <a:headEnd type="none"/>
              <a:tailEnd type="none"/>
            </a:ln>
            <a:effectLst/>
          </p:spPr>
        </p:cxnSp>
      </p:grpSp>
      <p:sp>
        <p:nvSpPr>
          <p:cNvPr id="117" name="Oval 116">
            <a:extLst>
              <a:ext uri="{FF2B5EF4-FFF2-40B4-BE49-F238E27FC236}">
                <a16:creationId xmlns:a16="http://schemas.microsoft.com/office/drawing/2014/main" id="{A5A07368-0584-4555-8C33-803749FE1A3E}"/>
              </a:ext>
            </a:extLst>
          </p:cNvPr>
          <p:cNvSpPr/>
          <p:nvPr/>
        </p:nvSpPr>
        <p:spPr bwMode="auto">
          <a:xfrm>
            <a:off x="4423344" y="1764792"/>
            <a:ext cx="3345313" cy="3324588"/>
          </a:xfrm>
          <a:prstGeom prst="ellipse">
            <a:avLst/>
          </a:prstGeom>
          <a:noFill/>
          <a:ln w="381000" cap="rnd"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A12A1F7C-33F9-4357-9B77-D815A6D25B64}"/>
              </a:ext>
            </a:extLst>
          </p:cNvPr>
          <p:cNvSpPr/>
          <p:nvPr/>
        </p:nvSpPr>
        <p:spPr bwMode="auto">
          <a:xfrm>
            <a:off x="4221480" y="1554480"/>
            <a:ext cx="3749040" cy="3749040"/>
          </a:xfrm>
          <a:prstGeom prst="ellipse">
            <a:avLst/>
          </a:prstGeom>
          <a:noFill/>
          <a:ln w="381000" cap="rnd"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TextBox 118">
            <a:extLst>
              <a:ext uri="{FF2B5EF4-FFF2-40B4-BE49-F238E27FC236}">
                <a16:creationId xmlns:a16="http://schemas.microsoft.com/office/drawing/2014/main" id="{8F66E86C-35A4-4B58-91D5-962686D84A65}"/>
              </a:ext>
            </a:extLst>
          </p:cNvPr>
          <p:cNvSpPr txBox="1"/>
          <p:nvPr/>
        </p:nvSpPr>
        <p:spPr>
          <a:xfrm>
            <a:off x="9220044" y="2316685"/>
            <a:ext cx="2330705" cy="325865"/>
          </a:xfrm>
          <a:prstGeom prst="rect">
            <a:avLst/>
          </a:prstGeom>
          <a:noFill/>
        </p:spPr>
        <p:txBody>
          <a:bodyPr wrap="none" lIns="0" tIns="0" rIns="0" bIns="0" rtlCol="0" anchor="ctr">
            <a:no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rgbClr val="002050"/>
                </a:solidFill>
                <a:effectLst/>
                <a:uLnTx/>
                <a:uFillTx/>
                <a:latin typeface="Segoe UI"/>
                <a:ea typeface="+mn-ea"/>
                <a:cs typeface="+mn-cs"/>
              </a:rPr>
              <a:t>Dynamics 365</a:t>
            </a:r>
          </a:p>
        </p:txBody>
      </p:sp>
      <p:sp>
        <p:nvSpPr>
          <p:cNvPr id="120" name="TextBox 119">
            <a:extLst>
              <a:ext uri="{FF2B5EF4-FFF2-40B4-BE49-F238E27FC236}">
                <a16:creationId xmlns:a16="http://schemas.microsoft.com/office/drawing/2014/main" id="{9518088C-80F7-431F-8732-1E622118E0A2}"/>
              </a:ext>
            </a:extLst>
          </p:cNvPr>
          <p:cNvSpPr txBox="1"/>
          <p:nvPr/>
        </p:nvSpPr>
        <p:spPr>
          <a:xfrm>
            <a:off x="9220044" y="3266068"/>
            <a:ext cx="2330705" cy="325865"/>
          </a:xfrm>
          <a:prstGeom prst="rect">
            <a:avLst/>
          </a:prstGeom>
          <a:noFill/>
        </p:spPr>
        <p:txBody>
          <a:bodyPr wrap="none" lIns="0" tIns="0" rIns="0" bIns="0" rtlCol="0" anchor="ctr">
            <a:no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rgbClr val="002050"/>
                </a:solidFill>
                <a:effectLst/>
                <a:uLnTx/>
                <a:uFillTx/>
                <a:latin typeface="Segoe UI"/>
                <a:ea typeface="+mn-ea"/>
                <a:cs typeface="+mn-cs"/>
              </a:rPr>
              <a:t>Office 365</a:t>
            </a:r>
          </a:p>
        </p:txBody>
      </p:sp>
      <p:sp>
        <p:nvSpPr>
          <p:cNvPr id="121" name="TextBox 120">
            <a:extLst>
              <a:ext uri="{FF2B5EF4-FFF2-40B4-BE49-F238E27FC236}">
                <a16:creationId xmlns:a16="http://schemas.microsoft.com/office/drawing/2014/main" id="{950E946C-0CBA-4CF2-8258-F4807B05CDB5}"/>
              </a:ext>
            </a:extLst>
          </p:cNvPr>
          <p:cNvSpPr txBox="1"/>
          <p:nvPr/>
        </p:nvSpPr>
        <p:spPr>
          <a:xfrm>
            <a:off x="9220044" y="4215451"/>
            <a:ext cx="2330705" cy="325865"/>
          </a:xfrm>
          <a:prstGeom prst="rect">
            <a:avLst/>
          </a:prstGeom>
          <a:noFill/>
        </p:spPr>
        <p:txBody>
          <a:bodyPr wrap="none" lIns="0" tIns="0" rIns="0" bIns="0" rtlCol="0" anchor="ctr">
            <a:no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rgbClr val="002050"/>
                </a:solidFill>
                <a:effectLst/>
                <a:uLnTx/>
                <a:uFillTx/>
                <a:latin typeface="Segoe UI"/>
                <a:ea typeface="+mn-ea"/>
                <a:cs typeface="+mn-cs"/>
              </a:rPr>
              <a:t>Standalone Apps</a:t>
            </a:r>
          </a:p>
        </p:txBody>
      </p:sp>
      <p:grpSp>
        <p:nvGrpSpPr>
          <p:cNvPr id="122" name="Group 121">
            <a:extLst>
              <a:ext uri="{FF2B5EF4-FFF2-40B4-BE49-F238E27FC236}">
                <a16:creationId xmlns:a16="http://schemas.microsoft.com/office/drawing/2014/main" id="{5C298BE2-CA02-4E57-BD37-FBF541D7DB68}"/>
              </a:ext>
            </a:extLst>
          </p:cNvPr>
          <p:cNvGrpSpPr/>
          <p:nvPr/>
        </p:nvGrpSpPr>
        <p:grpSpPr>
          <a:xfrm>
            <a:off x="4120265" y="1600913"/>
            <a:ext cx="3951470" cy="3927874"/>
            <a:chOff x="4120265" y="1600913"/>
            <a:chExt cx="3951470" cy="3927874"/>
          </a:xfrm>
        </p:grpSpPr>
        <p:sp>
          <p:nvSpPr>
            <p:cNvPr id="123" name="Freeform: Shape 122">
              <a:extLst>
                <a:ext uri="{FF2B5EF4-FFF2-40B4-BE49-F238E27FC236}">
                  <a16:creationId xmlns:a16="http://schemas.microsoft.com/office/drawing/2014/main" id="{7EE639B5-7341-4665-A4A3-B5AEEA27C992}"/>
                </a:ext>
              </a:extLst>
            </p:cNvPr>
            <p:cNvSpPr/>
            <p:nvPr/>
          </p:nvSpPr>
          <p:spPr bwMode="auto">
            <a:xfrm>
              <a:off x="4596872" y="4012578"/>
              <a:ext cx="2998258" cy="1291372"/>
            </a:xfrm>
            <a:custGeom>
              <a:avLst/>
              <a:gdLst>
                <a:gd name="connsiteX0" fmla="*/ 593085 w 3007137"/>
                <a:gd name="connsiteY0" fmla="*/ 0 h 1295196"/>
                <a:gd name="connsiteX1" fmla="*/ 611556 w 3007137"/>
                <a:gd name="connsiteY1" fmla="*/ 30892 h 1295196"/>
                <a:gd name="connsiteX2" fmla="*/ 1505543 w 3007137"/>
                <a:gd name="connsiteY2" fmla="*/ 513848 h 1295196"/>
                <a:gd name="connsiteX3" fmla="*/ 2399531 w 3007137"/>
                <a:gd name="connsiteY3" fmla="*/ 30892 h 1295196"/>
                <a:gd name="connsiteX4" fmla="*/ 2414549 w 3007137"/>
                <a:gd name="connsiteY4" fmla="*/ 5774 h 1295196"/>
                <a:gd name="connsiteX5" fmla="*/ 3007137 w 3007137"/>
                <a:gd name="connsiteY5" fmla="*/ 517042 h 1295196"/>
                <a:gd name="connsiteX6" fmla="*/ 2936789 w 3007137"/>
                <a:gd name="connsiteY6" fmla="*/ 612230 h 1295196"/>
                <a:gd name="connsiteX7" fmla="*/ 1505543 w 3007137"/>
                <a:gd name="connsiteY7" fmla="*/ 1295196 h 1295196"/>
                <a:gd name="connsiteX8" fmla="*/ 74297 w 3007137"/>
                <a:gd name="connsiteY8" fmla="*/ 612230 h 1295196"/>
                <a:gd name="connsiteX9" fmla="*/ 0 w 3007137"/>
                <a:gd name="connsiteY9" fmla="*/ 511697 h 129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7137" h="1295196">
                  <a:moveTo>
                    <a:pt x="593085" y="0"/>
                  </a:moveTo>
                  <a:lnTo>
                    <a:pt x="611556" y="30892"/>
                  </a:lnTo>
                  <a:cubicBezTo>
                    <a:pt x="805300" y="322273"/>
                    <a:pt x="1133403" y="513848"/>
                    <a:pt x="1505543" y="513848"/>
                  </a:cubicBezTo>
                  <a:cubicBezTo>
                    <a:pt x="1877684" y="513848"/>
                    <a:pt x="2205786" y="322273"/>
                    <a:pt x="2399531" y="30892"/>
                  </a:cubicBezTo>
                  <a:lnTo>
                    <a:pt x="2414549" y="5774"/>
                  </a:lnTo>
                  <a:lnTo>
                    <a:pt x="3007137" y="517042"/>
                  </a:lnTo>
                  <a:lnTo>
                    <a:pt x="2936789" y="612230"/>
                  </a:lnTo>
                  <a:cubicBezTo>
                    <a:pt x="2596593" y="1029335"/>
                    <a:pt x="2081752" y="1295196"/>
                    <a:pt x="1505543" y="1295196"/>
                  </a:cubicBezTo>
                  <a:cubicBezTo>
                    <a:pt x="929334" y="1295196"/>
                    <a:pt x="414493" y="1029335"/>
                    <a:pt x="74297" y="612230"/>
                  </a:cubicBezTo>
                  <a:lnTo>
                    <a:pt x="0" y="511697"/>
                  </a:lnTo>
                  <a:close/>
                </a:path>
              </a:pathLst>
            </a:custGeom>
            <a:solidFill>
              <a:srgbClr val="D2D2D2"/>
            </a:solidFill>
            <a:ln w="38100"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2050"/>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F809009D-EF5A-4365-B595-EA142BFA3767}"/>
                </a:ext>
              </a:extLst>
            </p:cNvPr>
            <p:cNvSpPr/>
            <p:nvPr/>
          </p:nvSpPr>
          <p:spPr bwMode="auto">
            <a:xfrm>
              <a:off x="4120265" y="160091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79234" tIns="143387" rIns="179234" bIns="143387" numCol="1" spcCol="0" rtlCol="0" fromWordArt="0" anchor="ctr" anchorCtr="0" forceAA="0" compatLnSpc="1">
              <a:prstTxWarp prst="textArchDown">
                <a:avLst>
                  <a:gd name="adj" fmla="val 1856160"/>
                </a:avLst>
              </a:prstTxWarp>
              <a:no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              Microsoft Flow</a:t>
              </a:r>
            </a:p>
          </p:txBody>
        </p:sp>
      </p:grpSp>
      <p:sp>
        <p:nvSpPr>
          <p:cNvPr id="125" name="TextBox 124">
            <a:extLst>
              <a:ext uri="{FF2B5EF4-FFF2-40B4-BE49-F238E27FC236}">
                <a16:creationId xmlns:a16="http://schemas.microsoft.com/office/drawing/2014/main" id="{95D839DC-7DB0-47C5-B604-AD6B1BE7AF7F}"/>
              </a:ext>
            </a:extLst>
          </p:cNvPr>
          <p:cNvSpPr txBox="1"/>
          <p:nvPr/>
        </p:nvSpPr>
        <p:spPr>
          <a:xfrm>
            <a:off x="551397" y="2891931"/>
            <a:ext cx="2679773" cy="1074140"/>
          </a:xfrm>
          <a:prstGeom prst="rect">
            <a:avLst/>
          </a:prstGeom>
          <a:noFill/>
        </p:spPr>
        <p:txBody>
          <a:bodyPr wrap="none" lIns="0" tIns="0" rIns="0" bIns="0" rtlCol="0" anchor="ctr">
            <a:spAutoFit/>
          </a:bodyPr>
          <a:lstStyle/>
          <a:p>
            <a:pPr marL="0" marR="0" lvl="0" indent="0" algn="ctr" defTabSz="896302" rtl="0" eaLnBrk="1" fontAlgn="auto" latinLnBrk="0" hangingPunct="1">
              <a:lnSpc>
                <a:spcPct val="90000"/>
              </a:lnSpc>
              <a:spcBef>
                <a:spcPts val="0"/>
              </a:spcBef>
              <a:spcAft>
                <a:spcPts val="576"/>
              </a:spcAft>
              <a:buClrTx/>
              <a:buSzTx/>
              <a:buFontTx/>
              <a:buNone/>
              <a:tabLst/>
              <a:defRPr/>
            </a:pPr>
            <a:r>
              <a:rPr kumimoji="0" lang="en-US" sz="3600" b="0" i="0" u="none" strike="noStrike" kern="1200" cap="none" spc="-144" normalizeH="0" baseline="0" noProof="0" dirty="0">
                <a:ln>
                  <a:noFill/>
                </a:ln>
                <a:solidFill>
                  <a:srgbClr val="002050"/>
                </a:solidFill>
                <a:effectLst/>
                <a:uLnTx/>
                <a:uFillTx/>
                <a:latin typeface="Segoe UI Light" panose="020B0502040204020203" pitchFamily="34" charset="0"/>
                <a:ea typeface="+mn-ea"/>
                <a:cs typeface="Segoe UI Light" panose="020B0502040204020203" pitchFamily="34" charset="0"/>
              </a:rPr>
              <a:t>Microsoft</a:t>
            </a:r>
          </a:p>
          <a:p>
            <a:pPr marL="0" marR="0" lvl="0" indent="0" algn="ctr" defTabSz="896302" rtl="0" eaLnBrk="1" fontAlgn="auto" latinLnBrk="0" hangingPunct="1">
              <a:lnSpc>
                <a:spcPct val="90000"/>
              </a:lnSpc>
              <a:spcBef>
                <a:spcPts val="0"/>
              </a:spcBef>
              <a:spcAft>
                <a:spcPts val="576"/>
              </a:spcAft>
              <a:buClrTx/>
              <a:buSzTx/>
              <a:buFontTx/>
              <a:buNone/>
              <a:tabLst/>
              <a:defRPr/>
            </a:pPr>
            <a:r>
              <a:rPr kumimoji="0" lang="en-US" sz="3600" b="0" i="0" u="none" strike="noStrike" kern="1200" cap="none" spc="-144" normalizeH="0" baseline="0" noProof="0" dirty="0">
                <a:ln>
                  <a:noFill/>
                </a:ln>
                <a:solidFill>
                  <a:srgbClr val="002050"/>
                </a:solidFill>
                <a:effectLst/>
                <a:uLnTx/>
                <a:uFillTx/>
                <a:latin typeface="Segoe UI Light" panose="020B0502040204020203" pitchFamily="34" charset="0"/>
                <a:ea typeface="+mn-ea"/>
                <a:cs typeface="Segoe UI Light" panose="020B0502040204020203" pitchFamily="34" charset="0"/>
              </a:rPr>
              <a:t>Power Platform</a:t>
            </a:r>
          </a:p>
        </p:txBody>
      </p:sp>
      <p:grpSp>
        <p:nvGrpSpPr>
          <p:cNvPr id="126" name="Group 125">
            <a:extLst>
              <a:ext uri="{FF2B5EF4-FFF2-40B4-BE49-F238E27FC236}">
                <a16:creationId xmlns:a16="http://schemas.microsoft.com/office/drawing/2014/main" id="{D82FFD0A-7410-49DA-8C4B-A026F32914E9}"/>
              </a:ext>
            </a:extLst>
          </p:cNvPr>
          <p:cNvGrpSpPr/>
          <p:nvPr/>
        </p:nvGrpSpPr>
        <p:grpSpPr>
          <a:xfrm>
            <a:off x="4132063" y="1453265"/>
            <a:ext cx="3927874" cy="3951470"/>
            <a:chOff x="4132063" y="1453265"/>
            <a:chExt cx="3927874" cy="3951470"/>
          </a:xfrm>
        </p:grpSpPr>
        <p:sp>
          <p:nvSpPr>
            <p:cNvPr id="127" name="Freeform: Shape 126">
              <a:extLst>
                <a:ext uri="{FF2B5EF4-FFF2-40B4-BE49-F238E27FC236}">
                  <a16:creationId xmlns:a16="http://schemas.microsoft.com/office/drawing/2014/main" id="{D0D8EDC5-26AC-4AF5-9E12-12515D10F5A0}"/>
                </a:ext>
              </a:extLst>
            </p:cNvPr>
            <p:cNvSpPr/>
            <p:nvPr/>
          </p:nvSpPr>
          <p:spPr bwMode="auto">
            <a:xfrm>
              <a:off x="4241210" y="1554050"/>
              <a:ext cx="1831931" cy="2931979"/>
            </a:xfrm>
            <a:custGeom>
              <a:avLst/>
              <a:gdLst>
                <a:gd name="connsiteX0" fmla="*/ 1831931 w 1831931"/>
                <a:gd name="connsiteY0" fmla="*/ 0 h 2931979"/>
                <a:gd name="connsiteX1" fmla="*/ 1831931 w 1831931"/>
                <a:gd name="connsiteY1" fmla="*/ 781355 h 2931979"/>
                <a:gd name="connsiteX2" fmla="*/ 1744560 w 1831931"/>
                <a:gd name="connsiteY2" fmla="*/ 785838 h 2931979"/>
                <a:gd name="connsiteX3" fmla="*/ 776678 w 1831931"/>
                <a:gd name="connsiteY3" fmla="*/ 1875592 h 2931979"/>
                <a:gd name="connsiteX4" fmla="*/ 906801 w 1831931"/>
                <a:gd name="connsiteY4" fmla="*/ 2397729 h 2931979"/>
                <a:gd name="connsiteX5" fmla="*/ 918514 w 1831931"/>
                <a:gd name="connsiteY5" fmla="*/ 2417320 h 2931979"/>
                <a:gd name="connsiteX6" fmla="*/ 321997 w 1831931"/>
                <a:gd name="connsiteY6" fmla="*/ 2931979 h 2931979"/>
                <a:gd name="connsiteX7" fmla="*/ 316769 w 1831931"/>
                <a:gd name="connsiteY7" fmla="*/ 2924905 h 2931979"/>
                <a:gd name="connsiteX8" fmla="*/ 0 w 1831931"/>
                <a:gd name="connsiteY8" fmla="*/ 1875591 h 2931979"/>
                <a:gd name="connsiteX9" fmla="*/ 1665149 w 1831931"/>
                <a:gd name="connsiteY9" fmla="*/ 8522 h 293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931" h="2931979">
                  <a:moveTo>
                    <a:pt x="1831931" y="0"/>
                  </a:moveTo>
                  <a:lnTo>
                    <a:pt x="1831931" y="781355"/>
                  </a:lnTo>
                  <a:lnTo>
                    <a:pt x="1744560" y="785838"/>
                  </a:lnTo>
                  <a:cubicBezTo>
                    <a:pt x="1200915" y="841934"/>
                    <a:pt x="776678" y="1308425"/>
                    <a:pt x="776678" y="1875592"/>
                  </a:cubicBezTo>
                  <a:cubicBezTo>
                    <a:pt x="776678" y="2064648"/>
                    <a:pt x="823816" y="2242517"/>
                    <a:pt x="906801" y="2397729"/>
                  </a:cubicBezTo>
                  <a:lnTo>
                    <a:pt x="918514" y="2417320"/>
                  </a:lnTo>
                  <a:lnTo>
                    <a:pt x="321997" y="2931979"/>
                  </a:lnTo>
                  <a:lnTo>
                    <a:pt x="316769" y="2924905"/>
                  </a:lnTo>
                  <a:cubicBezTo>
                    <a:pt x="116778" y="2625372"/>
                    <a:pt x="0" y="2264281"/>
                    <a:pt x="0" y="1875591"/>
                  </a:cubicBezTo>
                  <a:cubicBezTo>
                    <a:pt x="0" y="903868"/>
                    <a:pt x="729860" y="104631"/>
                    <a:pt x="1665149" y="8522"/>
                  </a:cubicBezTo>
                  <a:close/>
                </a:path>
              </a:pathLst>
            </a:custGeom>
            <a:solidFill>
              <a:srgbClr val="D2D2D2"/>
            </a:solidFill>
            <a:ln w="38100"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2050"/>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AEBB21BE-8FEC-4284-BF56-18D72A375755}"/>
                </a:ext>
              </a:extLst>
            </p:cNvPr>
            <p:cNvSpPr/>
            <p:nvPr/>
          </p:nvSpPr>
          <p:spPr bwMode="auto">
            <a:xfrm rot="17822340">
              <a:off x="4120265" y="146506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79234" tIns="143387" rIns="179234" bIns="143387" numCol="1" spcCol="0" rtlCol="0" fromWordArt="0" anchor="ctr" anchorCtr="0" forceAA="0" compatLnSpc="1">
              <a:prstTxWarp prst="textArchUp">
                <a:avLst>
                  <a:gd name="adj" fmla="val 14358182"/>
                </a:avLst>
              </a:prstTxWarp>
              <a:no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PowerApps</a:t>
              </a:r>
            </a:p>
          </p:txBody>
        </p:sp>
      </p:grpSp>
      <p:grpSp>
        <p:nvGrpSpPr>
          <p:cNvPr id="129" name="Group 128">
            <a:extLst>
              <a:ext uri="{FF2B5EF4-FFF2-40B4-BE49-F238E27FC236}">
                <a16:creationId xmlns:a16="http://schemas.microsoft.com/office/drawing/2014/main" id="{631CB74F-69FB-417D-8279-7B3E4C93B978}"/>
              </a:ext>
            </a:extLst>
          </p:cNvPr>
          <p:cNvGrpSpPr/>
          <p:nvPr/>
        </p:nvGrpSpPr>
        <p:grpSpPr>
          <a:xfrm>
            <a:off x="4132063" y="1453265"/>
            <a:ext cx="3927874" cy="3951470"/>
            <a:chOff x="4132063" y="1453265"/>
            <a:chExt cx="3927874" cy="3951470"/>
          </a:xfrm>
        </p:grpSpPr>
        <p:sp>
          <p:nvSpPr>
            <p:cNvPr id="130" name="Freeform: Shape 129">
              <a:extLst>
                <a:ext uri="{FF2B5EF4-FFF2-40B4-BE49-F238E27FC236}">
                  <a16:creationId xmlns:a16="http://schemas.microsoft.com/office/drawing/2014/main" id="{C06D5FB9-E736-4389-9360-BC1D7DA439EC}"/>
                </a:ext>
              </a:extLst>
            </p:cNvPr>
            <p:cNvSpPr/>
            <p:nvPr/>
          </p:nvSpPr>
          <p:spPr bwMode="auto">
            <a:xfrm>
              <a:off x="6118860" y="1554050"/>
              <a:ext cx="1831930" cy="2937323"/>
            </a:xfrm>
            <a:custGeom>
              <a:avLst/>
              <a:gdLst>
                <a:gd name="connsiteX0" fmla="*/ 0 w 1831930"/>
                <a:gd name="connsiteY0" fmla="*/ 0 h 2937323"/>
                <a:gd name="connsiteX1" fmla="*/ 166782 w 1831930"/>
                <a:gd name="connsiteY1" fmla="*/ 8522 h 2937323"/>
                <a:gd name="connsiteX2" fmla="*/ 1831930 w 1831930"/>
                <a:gd name="connsiteY2" fmla="*/ 1875591 h 2937323"/>
                <a:gd name="connsiteX3" fmla="*/ 1515161 w 1831930"/>
                <a:gd name="connsiteY3" fmla="*/ 2924905 h 2937323"/>
                <a:gd name="connsiteX4" fmla="*/ 1505984 w 1831930"/>
                <a:gd name="connsiteY4" fmla="*/ 2937323 h 2937323"/>
                <a:gd name="connsiteX5" fmla="*/ 909964 w 1831930"/>
                <a:gd name="connsiteY5" fmla="*/ 2423094 h 2937323"/>
                <a:gd name="connsiteX6" fmla="*/ 925130 w 1831930"/>
                <a:gd name="connsiteY6" fmla="*/ 2397729 h 2937323"/>
                <a:gd name="connsiteX7" fmla="*/ 1055252 w 1831930"/>
                <a:gd name="connsiteY7" fmla="*/ 1875592 h 2937323"/>
                <a:gd name="connsiteX8" fmla="*/ 87371 w 1831930"/>
                <a:gd name="connsiteY8" fmla="*/ 785838 h 2937323"/>
                <a:gd name="connsiteX9" fmla="*/ 0 w 1831930"/>
                <a:gd name="connsiteY9" fmla="*/ 781355 h 293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930" h="2937323">
                  <a:moveTo>
                    <a:pt x="0" y="0"/>
                  </a:moveTo>
                  <a:lnTo>
                    <a:pt x="166782" y="8522"/>
                  </a:lnTo>
                  <a:cubicBezTo>
                    <a:pt x="1102071" y="104631"/>
                    <a:pt x="1831930" y="903868"/>
                    <a:pt x="1831930" y="1875591"/>
                  </a:cubicBezTo>
                  <a:cubicBezTo>
                    <a:pt x="1831930" y="2264281"/>
                    <a:pt x="1715153" y="2625372"/>
                    <a:pt x="1515161" y="2924905"/>
                  </a:cubicBezTo>
                  <a:lnTo>
                    <a:pt x="1505984" y="2937323"/>
                  </a:lnTo>
                  <a:lnTo>
                    <a:pt x="909964" y="2423094"/>
                  </a:lnTo>
                  <a:lnTo>
                    <a:pt x="925130" y="2397729"/>
                  </a:lnTo>
                  <a:cubicBezTo>
                    <a:pt x="1008115" y="2242517"/>
                    <a:pt x="1055252" y="2064648"/>
                    <a:pt x="1055252" y="1875592"/>
                  </a:cubicBezTo>
                  <a:cubicBezTo>
                    <a:pt x="1055252" y="1308425"/>
                    <a:pt x="631016" y="841934"/>
                    <a:pt x="87371" y="785838"/>
                  </a:cubicBezTo>
                  <a:lnTo>
                    <a:pt x="0" y="781355"/>
                  </a:lnTo>
                  <a:close/>
                </a:path>
              </a:pathLst>
            </a:custGeom>
            <a:solidFill>
              <a:srgbClr val="D2D2D2"/>
            </a:solidFill>
            <a:ln w="38100"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2050"/>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DE37B63A-D598-430E-83EA-D1EE50742B13}"/>
                </a:ext>
              </a:extLst>
            </p:cNvPr>
            <p:cNvSpPr/>
            <p:nvPr/>
          </p:nvSpPr>
          <p:spPr bwMode="auto">
            <a:xfrm rot="3882420">
              <a:off x="4120265" y="146506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79234" tIns="143387" rIns="179234" bIns="143387" numCol="1" spcCol="0" rtlCol="0" fromWordArt="0" anchor="ctr" anchorCtr="0" forceAA="0" compatLnSpc="1">
              <a:prstTxWarp prst="textArchUp">
                <a:avLst>
                  <a:gd name="adj" fmla="val 14900535"/>
                </a:avLst>
              </a:prstTxWarp>
              <a:no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Power BI</a:t>
              </a:r>
            </a:p>
          </p:txBody>
        </p:sp>
      </p:grpSp>
      <p:grpSp>
        <p:nvGrpSpPr>
          <p:cNvPr id="132" name="Group 131">
            <a:extLst>
              <a:ext uri="{FF2B5EF4-FFF2-40B4-BE49-F238E27FC236}">
                <a16:creationId xmlns:a16="http://schemas.microsoft.com/office/drawing/2014/main" id="{82FFA7F8-04A4-4B3F-9B39-466A3234E8D0}"/>
              </a:ext>
            </a:extLst>
          </p:cNvPr>
          <p:cNvGrpSpPr/>
          <p:nvPr/>
        </p:nvGrpSpPr>
        <p:grpSpPr>
          <a:xfrm>
            <a:off x="4726930" y="4471473"/>
            <a:ext cx="703088" cy="703088"/>
            <a:chOff x="4726930" y="4471473"/>
            <a:chExt cx="703088" cy="703088"/>
          </a:xfrm>
        </p:grpSpPr>
        <p:sp>
          <p:nvSpPr>
            <p:cNvPr id="133" name="Oval 132">
              <a:extLst>
                <a:ext uri="{FF2B5EF4-FFF2-40B4-BE49-F238E27FC236}">
                  <a16:creationId xmlns:a16="http://schemas.microsoft.com/office/drawing/2014/main" id="{48746476-20B6-4185-BF66-1FB68DDD1810}"/>
                </a:ext>
              </a:extLst>
            </p:cNvPr>
            <p:cNvSpPr/>
            <p:nvPr/>
          </p:nvSpPr>
          <p:spPr bwMode="auto">
            <a:xfrm>
              <a:off x="4726930" y="4471473"/>
              <a:ext cx="703088" cy="703088"/>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0CEEF4C8-6E8C-4CFC-94F0-FD03140BB208}"/>
                </a:ext>
              </a:extLst>
            </p:cNvPr>
            <p:cNvGrpSpPr/>
            <p:nvPr/>
          </p:nvGrpSpPr>
          <p:grpSpPr>
            <a:xfrm>
              <a:off x="4902990" y="4689695"/>
              <a:ext cx="350968" cy="266644"/>
              <a:chOff x="-1146792" y="678443"/>
              <a:chExt cx="1017587" cy="773113"/>
            </a:xfrm>
            <a:solidFill>
              <a:srgbClr val="002050"/>
            </a:solidFill>
          </p:grpSpPr>
          <p:sp>
            <p:nvSpPr>
              <p:cNvPr id="135" name="Freeform 5">
                <a:extLst>
                  <a:ext uri="{FF2B5EF4-FFF2-40B4-BE49-F238E27FC236}">
                    <a16:creationId xmlns:a16="http://schemas.microsoft.com/office/drawing/2014/main" id="{2EE50175-19BE-47C4-8F38-4AB2D0BCE628}"/>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D3BA839B-2058-4A2D-8BCE-8A54E733562A}"/>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37" name="Group 136">
            <a:extLst>
              <a:ext uri="{FF2B5EF4-FFF2-40B4-BE49-F238E27FC236}">
                <a16:creationId xmlns:a16="http://schemas.microsoft.com/office/drawing/2014/main" id="{7C7EDEC8-BBB1-4BB0-B5E2-4C0C45B506A9}"/>
              </a:ext>
            </a:extLst>
          </p:cNvPr>
          <p:cNvGrpSpPr/>
          <p:nvPr/>
        </p:nvGrpSpPr>
        <p:grpSpPr>
          <a:xfrm>
            <a:off x="5175202" y="1448532"/>
            <a:ext cx="703088" cy="703088"/>
            <a:chOff x="5057437" y="1364391"/>
            <a:chExt cx="820852" cy="820852"/>
          </a:xfrm>
        </p:grpSpPr>
        <p:sp>
          <p:nvSpPr>
            <p:cNvPr id="138" name="Oval 137">
              <a:extLst>
                <a:ext uri="{FF2B5EF4-FFF2-40B4-BE49-F238E27FC236}">
                  <a16:creationId xmlns:a16="http://schemas.microsoft.com/office/drawing/2014/main" id="{7E0840ED-1E48-4CF2-A44F-6802C35101F9}"/>
                </a:ext>
              </a:extLst>
            </p:cNvPr>
            <p:cNvSpPr/>
            <p:nvPr/>
          </p:nvSpPr>
          <p:spPr bwMode="auto">
            <a:xfrm>
              <a:off x="5057437" y="1364391"/>
              <a:ext cx="820852" cy="820852"/>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9" name="Group 4">
              <a:extLst>
                <a:ext uri="{FF2B5EF4-FFF2-40B4-BE49-F238E27FC236}">
                  <a16:creationId xmlns:a16="http://schemas.microsoft.com/office/drawing/2014/main" id="{0BBE2F4A-DD13-4E9D-A755-5C8B64E687D1}"/>
                </a:ext>
              </a:extLst>
            </p:cNvPr>
            <p:cNvGrpSpPr>
              <a:grpSpLocks noChangeAspect="1"/>
            </p:cNvGrpSpPr>
            <p:nvPr/>
          </p:nvGrpSpPr>
          <p:grpSpPr bwMode="auto">
            <a:xfrm>
              <a:off x="5280297" y="1630479"/>
              <a:ext cx="375132" cy="288676"/>
              <a:chOff x="2880" y="2176"/>
              <a:chExt cx="256" cy="197"/>
            </a:xfrm>
            <a:solidFill>
              <a:srgbClr val="002050"/>
            </a:solidFill>
          </p:grpSpPr>
          <p:sp>
            <p:nvSpPr>
              <p:cNvPr id="140" name="Freeform 5">
                <a:extLst>
                  <a:ext uri="{FF2B5EF4-FFF2-40B4-BE49-F238E27FC236}">
                    <a16:creationId xmlns:a16="http://schemas.microsoft.com/office/drawing/2014/main" id="{E625D7FF-F694-4CF5-89EC-33E822921C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6">
                <a:extLst>
                  <a:ext uri="{FF2B5EF4-FFF2-40B4-BE49-F238E27FC236}">
                    <a16:creationId xmlns:a16="http://schemas.microsoft.com/office/drawing/2014/main" id="{F669D872-0DA5-4AA7-A272-EBDD435124EA}"/>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7">
                <a:extLst>
                  <a:ext uri="{FF2B5EF4-FFF2-40B4-BE49-F238E27FC236}">
                    <a16:creationId xmlns:a16="http://schemas.microsoft.com/office/drawing/2014/main" id="{B58EAF88-A63A-465B-8AE3-AA6B966AC77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 name="Freeform 8">
                <a:extLst>
                  <a:ext uri="{FF2B5EF4-FFF2-40B4-BE49-F238E27FC236}">
                    <a16:creationId xmlns:a16="http://schemas.microsoft.com/office/drawing/2014/main" id="{05EDF60B-BAED-451D-A53E-A4C19A54B6AA}"/>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 name="Freeform 9">
                <a:extLst>
                  <a:ext uri="{FF2B5EF4-FFF2-40B4-BE49-F238E27FC236}">
                    <a16:creationId xmlns:a16="http://schemas.microsoft.com/office/drawing/2014/main" id="{3EA4845A-E1DD-4DD1-8AF8-B73024263AA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5" name="Group 144">
            <a:extLst>
              <a:ext uri="{FF2B5EF4-FFF2-40B4-BE49-F238E27FC236}">
                <a16:creationId xmlns:a16="http://schemas.microsoft.com/office/drawing/2014/main" id="{67F6B516-234A-4019-B478-E9FA2C8E445F}"/>
              </a:ext>
            </a:extLst>
          </p:cNvPr>
          <p:cNvGrpSpPr/>
          <p:nvPr/>
        </p:nvGrpSpPr>
        <p:grpSpPr>
          <a:xfrm>
            <a:off x="7397243" y="3566209"/>
            <a:ext cx="703088" cy="703088"/>
            <a:chOff x="7568114" y="3458540"/>
            <a:chExt cx="820852" cy="820852"/>
          </a:xfrm>
        </p:grpSpPr>
        <p:sp>
          <p:nvSpPr>
            <p:cNvPr id="146" name="Oval 145">
              <a:extLst>
                <a:ext uri="{FF2B5EF4-FFF2-40B4-BE49-F238E27FC236}">
                  <a16:creationId xmlns:a16="http://schemas.microsoft.com/office/drawing/2014/main" id="{E6B94CDD-33A4-4026-9649-E0B141111759}"/>
                </a:ext>
              </a:extLst>
            </p:cNvPr>
            <p:cNvSpPr/>
            <p:nvPr/>
          </p:nvSpPr>
          <p:spPr bwMode="auto">
            <a:xfrm>
              <a:off x="7568114" y="3458540"/>
              <a:ext cx="820852" cy="820852"/>
            </a:xfrm>
            <a:prstGeom prst="ellipse">
              <a:avLst/>
            </a:prstGeom>
            <a:solidFill>
              <a:srgbClr val="F1EFE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8" name="Group 12">
              <a:extLst>
                <a:ext uri="{FF2B5EF4-FFF2-40B4-BE49-F238E27FC236}">
                  <a16:creationId xmlns:a16="http://schemas.microsoft.com/office/drawing/2014/main" id="{D55FE267-993A-4862-8BEE-A71A99F4A60B}"/>
                </a:ext>
              </a:extLst>
            </p:cNvPr>
            <p:cNvGrpSpPr>
              <a:grpSpLocks noChangeAspect="1"/>
            </p:cNvGrpSpPr>
            <p:nvPr/>
          </p:nvGrpSpPr>
          <p:grpSpPr bwMode="auto">
            <a:xfrm>
              <a:off x="7789509" y="3725361"/>
              <a:ext cx="378063" cy="287211"/>
              <a:chOff x="4543" y="2176"/>
              <a:chExt cx="258" cy="196"/>
            </a:xfrm>
            <a:solidFill>
              <a:srgbClr val="002050"/>
            </a:solidFill>
          </p:grpSpPr>
          <p:sp>
            <p:nvSpPr>
              <p:cNvPr id="149" name="Freeform 13">
                <a:extLst>
                  <a:ext uri="{FF2B5EF4-FFF2-40B4-BE49-F238E27FC236}">
                    <a16:creationId xmlns:a16="http://schemas.microsoft.com/office/drawing/2014/main" id="{21280B28-C626-471E-A05F-5FDD18721E26}"/>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50" name="Freeform 14">
                <a:extLst>
                  <a:ext uri="{FF2B5EF4-FFF2-40B4-BE49-F238E27FC236}">
                    <a16:creationId xmlns:a16="http://schemas.microsoft.com/office/drawing/2014/main" id="{532A1BE8-A465-4101-9A6F-6024873F9A9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52" name="Freeform 15">
                <a:extLst>
                  <a:ext uri="{FF2B5EF4-FFF2-40B4-BE49-F238E27FC236}">
                    <a16:creationId xmlns:a16="http://schemas.microsoft.com/office/drawing/2014/main" id="{5BDC3498-2DF8-44DD-97E1-CDEE10E863C2}"/>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53" name="Freeform 16">
                <a:extLst>
                  <a:ext uri="{FF2B5EF4-FFF2-40B4-BE49-F238E27FC236}">
                    <a16:creationId xmlns:a16="http://schemas.microsoft.com/office/drawing/2014/main" id="{E2563A0B-A047-4B0F-893E-FB7ECAFBD3DA}"/>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68" name="Freeform 17">
                <a:extLst>
                  <a:ext uri="{FF2B5EF4-FFF2-40B4-BE49-F238E27FC236}">
                    <a16:creationId xmlns:a16="http://schemas.microsoft.com/office/drawing/2014/main" id="{0149D3A0-DFC9-4ECE-A5F1-E7F59F1EAE46}"/>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169" name="Oval 168">
            <a:extLst>
              <a:ext uri="{FF2B5EF4-FFF2-40B4-BE49-F238E27FC236}">
                <a16:creationId xmlns:a16="http://schemas.microsoft.com/office/drawing/2014/main" id="{7E2BE282-8FF7-458F-92CA-6D5C7016F22A}"/>
              </a:ext>
            </a:extLst>
          </p:cNvPr>
          <p:cNvSpPr/>
          <p:nvPr/>
        </p:nvSpPr>
        <p:spPr bwMode="auto">
          <a:xfrm>
            <a:off x="5955722" y="2622501"/>
            <a:ext cx="280559" cy="280559"/>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02" name="Oval 201">
            <a:extLst>
              <a:ext uri="{FF2B5EF4-FFF2-40B4-BE49-F238E27FC236}">
                <a16:creationId xmlns:a16="http://schemas.microsoft.com/office/drawing/2014/main" id="{D8A47D45-CA53-49E6-9A17-FE81DA1E45AB}"/>
              </a:ext>
            </a:extLst>
          </p:cNvPr>
          <p:cNvSpPr/>
          <p:nvPr/>
        </p:nvSpPr>
        <p:spPr bwMode="auto">
          <a:xfrm>
            <a:off x="5955722" y="3526739"/>
            <a:ext cx="280559" cy="280559"/>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314CADFB-B031-45AE-9365-A3C1A0A1A251}"/>
              </a:ext>
            </a:extLst>
          </p:cNvPr>
          <p:cNvSpPr/>
          <p:nvPr/>
        </p:nvSpPr>
        <p:spPr>
          <a:xfrm>
            <a:off x="5459105" y="3275112"/>
            <a:ext cx="1273790" cy="307777"/>
          </a:xfrm>
          <a:prstGeom prst="rect">
            <a:avLst/>
          </a:prstGeom>
          <a:noFill/>
          <a:ln w="10795" cap="flat" cmpd="sng" algn="ctr">
            <a:noFill/>
            <a:prstDash val="solid"/>
          </a:ln>
          <a:effectLst/>
        </p:spPr>
        <p:txBody>
          <a:bodyPr wrap="square" lIns="0" tIns="0" rIns="0" bIns="0"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2C6"/>
                </a:solidFill>
                <a:effectLst/>
                <a:uLnTx/>
                <a:uFillTx/>
                <a:latin typeface="Segoe UI"/>
                <a:ea typeface="+mn-ea"/>
                <a:cs typeface="Segoe UI Semibold" panose="020B0702040204020203" pitchFamily="34" charset="0"/>
              </a:rPr>
              <a:t>Azure</a:t>
            </a:r>
          </a:p>
        </p:txBody>
      </p:sp>
      <p:cxnSp>
        <p:nvCxnSpPr>
          <p:cNvPr id="204" name="Straight Connector 203">
            <a:extLst>
              <a:ext uri="{FF2B5EF4-FFF2-40B4-BE49-F238E27FC236}">
                <a16:creationId xmlns:a16="http://schemas.microsoft.com/office/drawing/2014/main" id="{B9AFA555-CB61-4017-92A8-573180BC2ACC}"/>
              </a:ext>
            </a:extLst>
          </p:cNvPr>
          <p:cNvCxnSpPr>
            <a:cxnSpLocks/>
          </p:cNvCxnSpPr>
          <p:nvPr/>
        </p:nvCxnSpPr>
        <p:spPr>
          <a:xfrm>
            <a:off x="6096000" y="5742432"/>
            <a:ext cx="0" cy="359601"/>
          </a:xfrm>
          <a:prstGeom prst="line">
            <a:avLst/>
          </a:prstGeom>
          <a:noFill/>
          <a:ln w="38100" cap="rnd" cmpd="sng" algn="ctr">
            <a:solidFill>
              <a:srgbClr val="0072C6"/>
            </a:solidFill>
            <a:prstDash val="sysDot"/>
            <a:headEnd type="none"/>
            <a:tailEnd type="none"/>
          </a:ln>
          <a:effectLst/>
        </p:spPr>
      </p:cxnSp>
      <p:sp>
        <p:nvSpPr>
          <p:cNvPr id="205" name="Rectangle 204">
            <a:extLst>
              <a:ext uri="{FF2B5EF4-FFF2-40B4-BE49-F238E27FC236}">
                <a16:creationId xmlns:a16="http://schemas.microsoft.com/office/drawing/2014/main" id="{3FA33EEE-8941-457A-9DE5-AE5FAEDBD258}"/>
              </a:ext>
            </a:extLst>
          </p:cNvPr>
          <p:cNvSpPr/>
          <p:nvPr/>
        </p:nvSpPr>
        <p:spPr>
          <a:xfrm>
            <a:off x="4822836" y="6131392"/>
            <a:ext cx="2546338" cy="507831"/>
          </a:xfrm>
          <a:prstGeom prst="rect">
            <a:avLst/>
          </a:prstGeom>
        </p:spPr>
        <p:txBody>
          <a:bodyPr wrap="none" lIns="0" tIns="0" rIns="0" bIns="0">
            <a:spAutoFit/>
          </a:bodyPr>
          <a:lstStyle/>
          <a:p>
            <a:pPr marL="0" marR="0" lvl="0" indent="0" algn="ctr" defTabSz="87872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2C6"/>
                </a:solidFill>
                <a:effectLst/>
                <a:uLnTx/>
                <a:uFillTx/>
                <a:latin typeface="Segoe UI"/>
                <a:ea typeface="+mn-ea"/>
                <a:cs typeface="Segoe UI Semibold" panose="020B0702040204020203" pitchFamily="34" charset="0"/>
              </a:rPr>
              <a:t>Common Data Service for Apps </a:t>
            </a:r>
          </a:p>
          <a:p>
            <a:pPr marL="0" marR="0" lvl="0" indent="0" algn="ctr" defTabSz="87872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2C6"/>
                </a:solidFill>
                <a:effectLst/>
                <a:uLnTx/>
                <a:uFillTx/>
                <a:latin typeface="Segoe UI"/>
                <a:ea typeface="+mn-ea"/>
                <a:cs typeface="Segoe UI Semibold" panose="020B0702040204020203" pitchFamily="34" charset="0"/>
              </a:rPr>
              <a:t>Data Connectors</a:t>
            </a:r>
          </a:p>
        </p:txBody>
      </p:sp>
      <p:sp>
        <p:nvSpPr>
          <p:cNvPr id="2" name="Title 1">
            <a:extLst>
              <a:ext uri="{FF2B5EF4-FFF2-40B4-BE49-F238E27FC236}">
                <a16:creationId xmlns:a16="http://schemas.microsoft.com/office/drawing/2014/main" id="{7C710FB4-35E4-4432-A724-D4E75FA26DF1}"/>
              </a:ext>
            </a:extLst>
          </p:cNvPr>
          <p:cNvSpPr>
            <a:spLocks noGrp="1"/>
          </p:cNvSpPr>
          <p:nvPr>
            <p:ph type="title"/>
          </p:nvPr>
        </p:nvSpPr>
        <p:spPr/>
        <p:txBody>
          <a:bodyPr/>
          <a:lstStyle/>
          <a:p>
            <a:endParaRPr lang="nl-NL"/>
          </a:p>
        </p:txBody>
      </p:sp>
      <p:sp>
        <p:nvSpPr>
          <p:cNvPr id="3" name="Content Placeholder 2">
            <a:extLst>
              <a:ext uri="{FF2B5EF4-FFF2-40B4-BE49-F238E27FC236}">
                <a16:creationId xmlns:a16="http://schemas.microsoft.com/office/drawing/2014/main" id="{2F97B937-D5CE-4D5B-A4E7-C812C0CE361A}"/>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47042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fade">
                                      <p:cBhvr>
                                        <p:cTn id="7" dur="500"/>
                                        <p:tgtEl>
                                          <p:spTgt spid="125"/>
                                        </p:tgtEl>
                                      </p:cBhvr>
                                    </p:animEffect>
                                  </p:childTnLst>
                                </p:cTn>
                              </p:par>
                              <p:par>
                                <p:cTn id="8" presetID="42" presetClass="path" presetSubtype="0" decel="100000" fill="hold" grpId="1" nodeType="withEffect">
                                  <p:stCondLst>
                                    <p:cond delay="0"/>
                                  </p:stCondLst>
                                  <p:childTnLst>
                                    <p:animMotion origin="layout" path="M 1.66667E-6 0 L 1.66667E-6 0.03565 " pathEditMode="relative" rAng="0" ptsTypes="AA">
                                      <p:cBhvr>
                                        <p:cTn id="9" dur="500" spd="-100000" fill="hold"/>
                                        <p:tgtEl>
                                          <p:spTgt spid="125"/>
                                        </p:tgtEl>
                                        <p:attrNameLst>
                                          <p:attrName>ppt_x</p:attrName>
                                          <p:attrName>ppt_y</p:attrName>
                                        </p:attrNameLst>
                                      </p:cBhvr>
                                      <p:rCtr x="0" y="1782"/>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250"/>
                                  </p:stCondLst>
                                  <p:childTnLst>
                                    <p:set>
                                      <p:cBhvr>
                                        <p:cTn id="13" dur="1" fill="hold">
                                          <p:stCondLst>
                                            <p:cond delay="0"/>
                                          </p:stCondLst>
                                        </p:cTn>
                                        <p:tgtEl>
                                          <p:spTgt spid="117"/>
                                        </p:tgtEl>
                                        <p:attrNameLst>
                                          <p:attrName>style.visibility</p:attrName>
                                        </p:attrNameLst>
                                      </p:cBhvr>
                                      <p:to>
                                        <p:strVal val="visible"/>
                                      </p:to>
                                    </p:set>
                                    <p:animEffect transition="in" filter="fade">
                                      <p:cBhvr>
                                        <p:cTn id="14" dur="250"/>
                                        <p:tgtEl>
                                          <p:spTgt spid="117"/>
                                        </p:tgtEl>
                                      </p:cBhvr>
                                    </p:animEffect>
                                  </p:childTnLst>
                                </p:cTn>
                              </p:par>
                            </p:childTnLst>
                          </p:cTn>
                        </p:par>
                        <p:par>
                          <p:cTn id="15" fill="hold">
                            <p:stCondLst>
                              <p:cond delay="500"/>
                            </p:stCondLst>
                            <p:childTnLst>
                              <p:par>
                                <p:cTn id="16" presetID="6" presetClass="emph" presetSubtype="0" decel="100000" fill="hold" grpId="1" nodeType="afterEffect">
                                  <p:stCondLst>
                                    <p:cond delay="0"/>
                                  </p:stCondLst>
                                  <p:childTnLst>
                                    <p:animScale>
                                      <p:cBhvr>
                                        <p:cTn id="17" dur="500" fill="hold"/>
                                        <p:tgtEl>
                                          <p:spTgt spid="117"/>
                                        </p:tgtEl>
                                      </p:cBhvr>
                                      <p:by x="112000" y="112000"/>
                                    </p:animScale>
                                  </p:childTnLst>
                                </p:cTn>
                              </p:par>
                              <p:par>
                                <p:cTn id="18" presetID="7" presetClass="emph" presetSubtype="2" fill="hold" nodeType="withEffect">
                                  <p:stCondLst>
                                    <p:cond delay="0"/>
                                  </p:stCondLst>
                                  <p:childTnLst>
                                    <p:animClr clrSpc="rgb" dir="cw">
                                      <p:cBhvr>
                                        <p:cTn id="19" dur="500" fill="hold"/>
                                        <p:tgtEl>
                                          <p:spTgt spid="117"/>
                                        </p:tgtEl>
                                        <p:attrNameLst>
                                          <p:attrName>stroke.color</p:attrName>
                                        </p:attrNameLst>
                                      </p:cBhvr>
                                      <p:to>
                                        <a:srgbClr val="002050"/>
                                      </p:to>
                                    </p:animClr>
                                    <p:set>
                                      <p:cBhvr>
                                        <p:cTn id="20" dur="500" fill="hold"/>
                                        <p:tgtEl>
                                          <p:spTgt spid="117"/>
                                        </p:tgtEl>
                                        <p:attrNameLst>
                                          <p:attrName>stroke.on</p:attrName>
                                        </p:attrNameLst>
                                      </p:cBhvr>
                                      <p:to>
                                        <p:strVal val="true"/>
                                      </p:to>
                                    </p:se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114"/>
                                        </p:tgtEl>
                                        <p:attrNameLst>
                                          <p:attrName>style.visibility</p:attrName>
                                        </p:attrNameLst>
                                      </p:cBhvr>
                                      <p:to>
                                        <p:strVal val="visible"/>
                                      </p:to>
                                    </p:set>
                                    <p:animEffect transition="in" filter="wipe(left)">
                                      <p:cBhvr>
                                        <p:cTn id="24" dur="500"/>
                                        <p:tgtEl>
                                          <p:spTgt spid="11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fade">
                                      <p:cBhvr>
                                        <p:cTn id="28" dur="500"/>
                                        <p:tgtEl>
                                          <p:spTgt spid="119"/>
                                        </p:tgtEl>
                                      </p:cBhvr>
                                    </p:animEffect>
                                  </p:childTnLst>
                                </p:cTn>
                              </p:par>
                              <p:par>
                                <p:cTn id="29" presetID="42" presetClass="path" presetSubtype="0" decel="100000" fill="hold" grpId="1" nodeType="withEffect">
                                  <p:stCondLst>
                                    <p:cond delay="0"/>
                                  </p:stCondLst>
                                  <p:childTnLst>
                                    <p:animMotion origin="layout" path="M -2.91667E-6 -4.07407E-6 L -0.02721 -4.07407E-6 " pathEditMode="relative" rAng="0" ptsTypes="AA">
                                      <p:cBhvr>
                                        <p:cTn id="30" dur="500" spd="-100000" fill="hold"/>
                                        <p:tgtEl>
                                          <p:spTgt spid="119"/>
                                        </p:tgtEl>
                                        <p:attrNameLst>
                                          <p:attrName>ppt_x</p:attrName>
                                          <p:attrName>ppt_y</p:attrName>
                                        </p:attrNameLst>
                                      </p:cBhvr>
                                      <p:rCtr x="-1367" y="0"/>
                                    </p:animMotion>
                                  </p:childTnLst>
                                </p:cTn>
                              </p:par>
                              <p:par>
                                <p:cTn id="31" presetID="10" presetClass="entr" presetSubtype="0" fill="hold" grpId="0" nodeType="withEffect">
                                  <p:stCondLst>
                                    <p:cond delay="25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500"/>
                                        <p:tgtEl>
                                          <p:spTgt spid="120"/>
                                        </p:tgtEl>
                                      </p:cBhvr>
                                    </p:animEffect>
                                  </p:childTnLst>
                                </p:cTn>
                              </p:par>
                              <p:par>
                                <p:cTn id="34" presetID="42" presetClass="path" presetSubtype="0" decel="100000" fill="hold" grpId="1" nodeType="withEffect">
                                  <p:stCondLst>
                                    <p:cond delay="250"/>
                                  </p:stCondLst>
                                  <p:childTnLst>
                                    <p:animMotion origin="layout" path="M -2.29167E-6 0 L -0.02721 0 " pathEditMode="relative" rAng="0" ptsTypes="AA">
                                      <p:cBhvr>
                                        <p:cTn id="35" dur="500" spd="-100000" fill="hold"/>
                                        <p:tgtEl>
                                          <p:spTgt spid="120"/>
                                        </p:tgtEl>
                                        <p:attrNameLst>
                                          <p:attrName>ppt_x</p:attrName>
                                          <p:attrName>ppt_y</p:attrName>
                                        </p:attrNameLst>
                                      </p:cBhvr>
                                      <p:rCtr x="-1367" y="0"/>
                                    </p:animMotion>
                                  </p:childTnLst>
                                </p:cTn>
                              </p:par>
                              <p:par>
                                <p:cTn id="36" presetID="10" presetClass="entr" presetSubtype="0" fill="hold" grpId="0" nodeType="withEffect">
                                  <p:stCondLst>
                                    <p:cond delay="500"/>
                                  </p:stCondLst>
                                  <p:childTnLst>
                                    <p:set>
                                      <p:cBhvr>
                                        <p:cTn id="37" dur="1" fill="hold">
                                          <p:stCondLst>
                                            <p:cond delay="0"/>
                                          </p:stCondLst>
                                        </p:cTn>
                                        <p:tgtEl>
                                          <p:spTgt spid="121"/>
                                        </p:tgtEl>
                                        <p:attrNameLst>
                                          <p:attrName>style.visibility</p:attrName>
                                        </p:attrNameLst>
                                      </p:cBhvr>
                                      <p:to>
                                        <p:strVal val="visible"/>
                                      </p:to>
                                    </p:set>
                                    <p:animEffect transition="in" filter="fade">
                                      <p:cBhvr>
                                        <p:cTn id="38" dur="500"/>
                                        <p:tgtEl>
                                          <p:spTgt spid="121"/>
                                        </p:tgtEl>
                                      </p:cBhvr>
                                    </p:animEffect>
                                  </p:childTnLst>
                                </p:cTn>
                              </p:par>
                              <p:par>
                                <p:cTn id="39" presetID="42" presetClass="path" presetSubtype="0" decel="100000" fill="hold" grpId="1" nodeType="withEffect">
                                  <p:stCondLst>
                                    <p:cond delay="500"/>
                                  </p:stCondLst>
                                  <p:childTnLst>
                                    <p:animMotion origin="layout" path="M -2.91667E-6 4.07407E-6 L -0.02721 4.07407E-6 " pathEditMode="relative" rAng="0" ptsTypes="AA">
                                      <p:cBhvr>
                                        <p:cTn id="40" dur="500" spd="-100000" fill="hold"/>
                                        <p:tgtEl>
                                          <p:spTgt spid="121"/>
                                        </p:tgtEl>
                                        <p:attrNameLst>
                                          <p:attrName>ppt_x</p:attrName>
                                          <p:attrName>ppt_y</p:attrName>
                                        </p:attrNameLst>
                                      </p:cBhvr>
                                      <p:rCtr x="-1367" y="0"/>
                                    </p:animMotion>
                                  </p:childTnLst>
                                </p:cTn>
                              </p:par>
                            </p:childTnLst>
                          </p:cTn>
                        </p:par>
                      </p:childTnLst>
                    </p:cTn>
                  </p:par>
                  <p:par>
                    <p:cTn id="41" fill="hold">
                      <p:stCondLst>
                        <p:cond delay="indefinite"/>
                      </p:stCondLst>
                      <p:childTnLst>
                        <p:par>
                          <p:cTn id="42" fill="hold">
                            <p:stCondLst>
                              <p:cond delay="0"/>
                            </p:stCondLst>
                            <p:childTnLst>
                              <p:par>
                                <p:cTn id="43" presetID="21" presetClass="entr" presetSubtype="1" fill="hold" grpId="0" nodeType="clickEffect">
                                  <p:stCondLst>
                                    <p:cond delay="0"/>
                                  </p:stCondLst>
                                  <p:childTnLst>
                                    <p:set>
                                      <p:cBhvr>
                                        <p:cTn id="44" dur="1" fill="hold">
                                          <p:stCondLst>
                                            <p:cond delay="0"/>
                                          </p:stCondLst>
                                        </p:cTn>
                                        <p:tgtEl>
                                          <p:spTgt spid="113"/>
                                        </p:tgtEl>
                                        <p:attrNameLst>
                                          <p:attrName>style.visibility</p:attrName>
                                        </p:attrNameLst>
                                      </p:cBhvr>
                                      <p:to>
                                        <p:strVal val="visible"/>
                                      </p:to>
                                    </p:set>
                                    <p:animEffect transition="in" filter="wheel(1)">
                                      <p:cBhvr>
                                        <p:cTn id="45" dur="750"/>
                                        <p:tgtEl>
                                          <p:spTgt spid="113"/>
                                        </p:tgtEl>
                                      </p:cBhvr>
                                    </p:animEffect>
                                  </p:childTnLst>
                                </p:cTn>
                              </p:par>
                            </p:childTnLst>
                          </p:cTn>
                        </p:par>
                        <p:par>
                          <p:cTn id="46" fill="hold">
                            <p:stCondLst>
                              <p:cond delay="750"/>
                            </p:stCondLst>
                            <p:childTnLst>
                              <p:par>
                                <p:cTn id="47" presetID="22" presetClass="entr" presetSubtype="1" fill="hold" nodeType="afterEffect">
                                  <p:stCondLst>
                                    <p:cond delay="0"/>
                                  </p:stCondLst>
                                  <p:childTnLst>
                                    <p:set>
                                      <p:cBhvr>
                                        <p:cTn id="48" dur="1" fill="hold">
                                          <p:stCondLst>
                                            <p:cond delay="0"/>
                                          </p:stCondLst>
                                        </p:cTn>
                                        <p:tgtEl>
                                          <p:spTgt spid="204"/>
                                        </p:tgtEl>
                                        <p:attrNameLst>
                                          <p:attrName>style.visibility</p:attrName>
                                        </p:attrNameLst>
                                      </p:cBhvr>
                                      <p:to>
                                        <p:strVal val="visible"/>
                                      </p:to>
                                    </p:set>
                                    <p:animEffect transition="in" filter="wipe(up)">
                                      <p:cBhvr>
                                        <p:cTn id="49" dur="500"/>
                                        <p:tgtEl>
                                          <p:spTgt spid="204"/>
                                        </p:tgtEl>
                                      </p:cBhvr>
                                    </p:animEffect>
                                  </p:childTnLst>
                                </p:cTn>
                              </p:par>
                            </p:childTnLst>
                          </p:cTn>
                        </p:par>
                        <p:par>
                          <p:cTn id="50" fill="hold">
                            <p:stCondLst>
                              <p:cond delay="1250"/>
                            </p:stCondLst>
                            <p:childTnLst>
                              <p:par>
                                <p:cTn id="51" presetID="10" presetClass="entr" presetSubtype="0" fill="hold" grpId="0" nodeType="afterEffect">
                                  <p:stCondLst>
                                    <p:cond delay="0"/>
                                  </p:stCondLst>
                                  <p:childTnLst>
                                    <p:set>
                                      <p:cBhvr>
                                        <p:cTn id="52" dur="1" fill="hold">
                                          <p:stCondLst>
                                            <p:cond delay="0"/>
                                          </p:stCondLst>
                                        </p:cTn>
                                        <p:tgtEl>
                                          <p:spTgt spid="205"/>
                                        </p:tgtEl>
                                        <p:attrNameLst>
                                          <p:attrName>style.visibility</p:attrName>
                                        </p:attrNameLst>
                                      </p:cBhvr>
                                      <p:to>
                                        <p:strVal val="visible"/>
                                      </p:to>
                                    </p:set>
                                    <p:animEffect transition="in" filter="fade">
                                      <p:cBhvr>
                                        <p:cTn id="53" dur="500"/>
                                        <p:tgtEl>
                                          <p:spTgt spid="205"/>
                                        </p:tgtEl>
                                      </p:cBhvr>
                                    </p:animEffect>
                                  </p:childTnLst>
                                </p:cTn>
                              </p:par>
                              <p:par>
                                <p:cTn id="54" presetID="42" presetClass="path" presetSubtype="0" decel="100000" fill="hold" grpId="1" nodeType="withEffect">
                                  <p:stCondLst>
                                    <p:cond delay="0"/>
                                  </p:stCondLst>
                                  <p:childTnLst>
                                    <p:animMotion origin="layout" path="M 0 1.48148E-6 L 0 -0.04306 " pathEditMode="relative" rAng="0" ptsTypes="AA">
                                      <p:cBhvr>
                                        <p:cTn id="55" dur="500" spd="-100000" fill="hold"/>
                                        <p:tgtEl>
                                          <p:spTgt spid="205"/>
                                        </p:tgtEl>
                                        <p:attrNameLst>
                                          <p:attrName>ppt_x</p:attrName>
                                          <p:attrName>ppt_y</p:attrName>
                                        </p:attrNameLst>
                                      </p:cBhvr>
                                      <p:rCtr x="0" y="-2153"/>
                                    </p:animMotion>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250"/>
                                  </p:stCondLst>
                                  <p:childTnLst>
                                    <p:set>
                                      <p:cBhvr>
                                        <p:cTn id="59" dur="1" fill="hold">
                                          <p:stCondLst>
                                            <p:cond delay="0"/>
                                          </p:stCondLst>
                                        </p:cTn>
                                        <p:tgtEl>
                                          <p:spTgt spid="118"/>
                                        </p:tgtEl>
                                        <p:attrNameLst>
                                          <p:attrName>style.visibility</p:attrName>
                                        </p:attrNameLst>
                                      </p:cBhvr>
                                      <p:to>
                                        <p:strVal val="visible"/>
                                      </p:to>
                                    </p:set>
                                    <p:animEffect transition="in" filter="fade">
                                      <p:cBhvr>
                                        <p:cTn id="60" dur="250"/>
                                        <p:tgtEl>
                                          <p:spTgt spid="118"/>
                                        </p:tgtEl>
                                      </p:cBhvr>
                                    </p:animEffect>
                                  </p:childTnLst>
                                </p:cTn>
                              </p:par>
                            </p:childTnLst>
                          </p:cTn>
                        </p:par>
                        <p:par>
                          <p:cTn id="61" fill="hold">
                            <p:stCondLst>
                              <p:cond delay="500"/>
                            </p:stCondLst>
                            <p:childTnLst>
                              <p:par>
                                <p:cTn id="62" presetID="6" presetClass="emph" presetSubtype="0" decel="100000" fill="hold" grpId="1" nodeType="afterEffect">
                                  <p:stCondLst>
                                    <p:cond delay="0"/>
                                  </p:stCondLst>
                                  <p:childTnLst>
                                    <p:animScale>
                                      <p:cBhvr>
                                        <p:cTn id="63" dur="500" fill="hold"/>
                                        <p:tgtEl>
                                          <p:spTgt spid="118"/>
                                        </p:tgtEl>
                                      </p:cBhvr>
                                      <p:by x="59000" y="59000"/>
                                    </p:animScale>
                                  </p:childTnLst>
                                </p:cTn>
                              </p:par>
                              <p:par>
                                <p:cTn id="64" presetID="7" presetClass="emph" presetSubtype="2" fill="hold" nodeType="withEffect">
                                  <p:stCondLst>
                                    <p:cond delay="0"/>
                                  </p:stCondLst>
                                  <p:childTnLst>
                                    <p:animClr clrSpc="rgb" dir="cw">
                                      <p:cBhvr>
                                        <p:cTn id="65" dur="500" fill="hold"/>
                                        <p:tgtEl>
                                          <p:spTgt spid="118"/>
                                        </p:tgtEl>
                                        <p:attrNameLst>
                                          <p:attrName>stroke.color</p:attrName>
                                        </p:attrNameLst>
                                      </p:cBhvr>
                                      <p:to>
                                        <a:srgbClr val="0072C6"/>
                                      </p:to>
                                    </p:animClr>
                                    <p:set>
                                      <p:cBhvr>
                                        <p:cTn id="66" dur="500" fill="hold"/>
                                        <p:tgtEl>
                                          <p:spTgt spid="118"/>
                                        </p:tgtEl>
                                        <p:attrNameLst>
                                          <p:attrName>stroke.on</p:attrName>
                                        </p:attrNameLst>
                                      </p:cBhvr>
                                      <p:to>
                                        <p:strVal val="true"/>
                                      </p:to>
                                    </p:set>
                                  </p:childTnLst>
                                </p:cTn>
                              </p:par>
                            </p:childTnLst>
                          </p:cTn>
                        </p:par>
                        <p:par>
                          <p:cTn id="67" fill="hold">
                            <p:stCondLst>
                              <p:cond delay="1000"/>
                            </p:stCondLst>
                            <p:childTnLst>
                              <p:par>
                                <p:cTn id="68" presetID="10" presetClass="entr" presetSubtype="0" fill="hold" grpId="0" nodeType="afterEffect">
                                  <p:stCondLst>
                                    <p:cond delay="0"/>
                                  </p:stCondLst>
                                  <p:childTnLst>
                                    <p:set>
                                      <p:cBhvr>
                                        <p:cTn id="69" dur="1" fill="hold">
                                          <p:stCondLst>
                                            <p:cond delay="0"/>
                                          </p:stCondLst>
                                        </p:cTn>
                                        <p:tgtEl>
                                          <p:spTgt spid="203"/>
                                        </p:tgtEl>
                                        <p:attrNameLst>
                                          <p:attrName>style.visibility</p:attrName>
                                        </p:attrNameLst>
                                      </p:cBhvr>
                                      <p:to>
                                        <p:strVal val="visible"/>
                                      </p:to>
                                    </p:set>
                                    <p:animEffect transition="in" filter="fade">
                                      <p:cBhvr>
                                        <p:cTn id="70" dur="500"/>
                                        <p:tgtEl>
                                          <p:spTgt spid="2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7" grpId="0" animBg="1"/>
      <p:bldP spid="117" grpId="1" animBg="1"/>
      <p:bldP spid="118" grpId="0" animBg="1"/>
      <p:bldP spid="118" grpId="1" animBg="1"/>
      <p:bldP spid="119" grpId="0"/>
      <p:bldP spid="119" grpId="1"/>
      <p:bldP spid="120" grpId="0"/>
      <p:bldP spid="120" grpId="1"/>
      <p:bldP spid="121" grpId="0"/>
      <p:bldP spid="121" grpId="1"/>
      <p:bldP spid="125" grpId="0"/>
      <p:bldP spid="125" grpId="1"/>
      <p:bldP spid="203" grpId="0"/>
      <p:bldP spid="205" grpId="0"/>
      <p:bldP spid="205"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Straight Connector 50">
            <a:extLst>
              <a:ext uri="{FF2B5EF4-FFF2-40B4-BE49-F238E27FC236}">
                <a16:creationId xmlns:a16="http://schemas.microsoft.com/office/drawing/2014/main" id="{25700CD0-5A26-4B36-8954-4A046BBCA9AF}"/>
              </a:ext>
            </a:extLst>
          </p:cNvPr>
          <p:cNvCxnSpPr>
            <a:cxnSpLocks/>
          </p:cNvCxnSpPr>
          <p:nvPr/>
        </p:nvCxnSpPr>
        <p:spPr>
          <a:xfrm>
            <a:off x="3573780" y="3144142"/>
            <a:ext cx="8618220" cy="0"/>
          </a:xfrm>
          <a:prstGeom prst="line">
            <a:avLst/>
          </a:prstGeom>
          <a:ln w="12700">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E17D020A-AF46-4DDD-B7D2-6B9235B93A4F}"/>
              </a:ext>
            </a:extLst>
          </p:cNvPr>
          <p:cNvGrpSpPr/>
          <p:nvPr/>
        </p:nvGrpSpPr>
        <p:grpSpPr>
          <a:xfrm>
            <a:off x="4875231" y="2661486"/>
            <a:ext cx="965313" cy="965313"/>
            <a:chOff x="2962744" y="2653713"/>
            <a:chExt cx="1051262" cy="1051262"/>
          </a:xfrm>
        </p:grpSpPr>
        <p:sp>
          <p:nvSpPr>
            <p:cNvPr id="60" name="Oval 59">
              <a:extLst>
                <a:ext uri="{FF2B5EF4-FFF2-40B4-BE49-F238E27FC236}">
                  <a16:creationId xmlns:a16="http://schemas.microsoft.com/office/drawing/2014/main" id="{9E14D76D-5DF5-4CAB-ABE2-7BF34411B6F2}"/>
                </a:ext>
              </a:extLst>
            </p:cNvPr>
            <p:cNvSpPr/>
            <p:nvPr/>
          </p:nvSpPr>
          <p:spPr bwMode="auto">
            <a:xfrm>
              <a:off x="2962744" y="2653713"/>
              <a:ext cx="1051262" cy="1051262"/>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61" name="Group 12">
              <a:extLst>
                <a:ext uri="{FF2B5EF4-FFF2-40B4-BE49-F238E27FC236}">
                  <a16:creationId xmlns:a16="http://schemas.microsoft.com/office/drawing/2014/main" id="{8D6799E5-5BFF-471E-A477-01FD0F3FFC53}"/>
                </a:ext>
              </a:extLst>
            </p:cNvPr>
            <p:cNvGrpSpPr>
              <a:grpSpLocks noChangeAspect="1"/>
            </p:cNvGrpSpPr>
            <p:nvPr/>
          </p:nvGrpSpPr>
          <p:grpSpPr bwMode="auto">
            <a:xfrm>
              <a:off x="3246283" y="2995429"/>
              <a:ext cx="484184" cy="367831"/>
              <a:chOff x="4543" y="2176"/>
              <a:chExt cx="258" cy="196"/>
            </a:xfrm>
            <a:solidFill>
              <a:schemeClr val="bg1"/>
            </a:solidFill>
          </p:grpSpPr>
          <p:sp>
            <p:nvSpPr>
              <p:cNvPr id="62" name="Freeform 13">
                <a:extLst>
                  <a:ext uri="{FF2B5EF4-FFF2-40B4-BE49-F238E27FC236}">
                    <a16:creationId xmlns:a16="http://schemas.microsoft.com/office/drawing/2014/main" id="{6BBD6E6F-3453-437B-857C-420B5EF3C77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 name="Freeform 14">
                <a:extLst>
                  <a:ext uri="{FF2B5EF4-FFF2-40B4-BE49-F238E27FC236}">
                    <a16:creationId xmlns:a16="http://schemas.microsoft.com/office/drawing/2014/main" id="{19B92F49-8969-4A9E-81B5-F66B5104ED93}"/>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 name="Freeform 15">
                <a:extLst>
                  <a:ext uri="{FF2B5EF4-FFF2-40B4-BE49-F238E27FC236}">
                    <a16:creationId xmlns:a16="http://schemas.microsoft.com/office/drawing/2014/main" id="{4F572B4A-FF15-4766-891A-71D0F71C80D3}"/>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 name="Freeform 16">
                <a:extLst>
                  <a:ext uri="{FF2B5EF4-FFF2-40B4-BE49-F238E27FC236}">
                    <a16:creationId xmlns:a16="http://schemas.microsoft.com/office/drawing/2014/main" id="{24E7538C-228A-4853-A152-45E8798B4FA9}"/>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 name="Freeform 17">
                <a:extLst>
                  <a:ext uri="{FF2B5EF4-FFF2-40B4-BE49-F238E27FC236}">
                    <a16:creationId xmlns:a16="http://schemas.microsoft.com/office/drawing/2014/main" id="{95720A46-34F7-4A1C-B76A-110D0E391880}"/>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68" name="Rectangle 67">
            <a:extLst>
              <a:ext uri="{FF2B5EF4-FFF2-40B4-BE49-F238E27FC236}">
                <a16:creationId xmlns:a16="http://schemas.microsoft.com/office/drawing/2014/main" id="{DB90F2F1-F5E7-4123-9434-59050FD09E4D}"/>
              </a:ext>
            </a:extLst>
          </p:cNvPr>
          <p:cNvSpPr/>
          <p:nvPr/>
        </p:nvSpPr>
        <p:spPr bwMode="auto">
          <a:xfrm>
            <a:off x="4643844" y="3746779"/>
            <a:ext cx="1428088" cy="962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i="0" u="none" strike="noStrike" kern="1200" cap="none" spc="0" normalizeH="0" baseline="0" noProof="0">
                <a:ln>
                  <a:noFill/>
                </a:ln>
                <a:solidFill>
                  <a:schemeClr val="tx1"/>
                </a:solidFill>
                <a:effectLst/>
                <a:uLnTx/>
                <a:uFillTx/>
                <a:latin typeface="+mj-lt"/>
                <a:ea typeface="Segoe UI" pitchFamily="34" charset="0"/>
                <a:cs typeface="Segoe UI" pitchFamily="34" charset="0"/>
              </a:rPr>
              <a:t>Power</a:t>
            </a:r>
            <a:br>
              <a:rPr kumimoji="0" lang="en-US" sz="1600" i="0" u="none" strike="noStrike" kern="1200" cap="none" spc="0" normalizeH="0" baseline="0" noProof="0">
                <a:ln>
                  <a:noFill/>
                </a:ln>
                <a:solidFill>
                  <a:schemeClr val="tx1"/>
                </a:solidFill>
                <a:effectLst/>
                <a:uLnTx/>
                <a:uFillTx/>
                <a:latin typeface="+mj-lt"/>
                <a:ea typeface="Segoe UI" pitchFamily="34" charset="0"/>
                <a:cs typeface="Segoe UI" pitchFamily="34" charset="0"/>
              </a:rPr>
            </a:br>
            <a:r>
              <a:rPr kumimoji="0" lang="en-US" sz="1600" i="0" u="none" strike="noStrike" kern="1200" cap="none" spc="0" normalizeH="0" baseline="0" noProof="0">
                <a:ln>
                  <a:noFill/>
                </a:ln>
                <a:solidFill>
                  <a:schemeClr val="tx1"/>
                </a:solidFill>
                <a:effectLst/>
                <a:uLnTx/>
                <a:uFillTx/>
                <a:latin typeface="+mj-lt"/>
                <a:ea typeface="Segoe UI" pitchFamily="34" charset="0"/>
                <a:cs typeface="Segoe UI" pitchFamily="34" charset="0"/>
              </a:rPr>
              <a:t>BI</a:t>
            </a:r>
          </a:p>
          <a:p>
            <a:pPr marL="0" marR="0" lvl="0" indent="0" algn="ctr" defTabSz="932114" rtl="0" eaLnBrk="1" fontAlgn="base" latinLnBrk="0" hangingPunct="1">
              <a:spcBef>
                <a:spcPct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Business</a:t>
            </a:r>
            <a:b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br>
            <a:r>
              <a:rPr kumimoji="0" lang="en-US" sz="1200" b="0" i="0" u="none" strike="noStrike" kern="1200" cap="none" spc="0" normalizeH="0" baseline="0" noProof="0">
                <a:ln>
                  <a:noFill/>
                </a:ln>
                <a:solidFill>
                  <a:schemeClr val="tx1"/>
                </a:solidFill>
                <a:effectLst/>
                <a:uLnTx/>
                <a:uFillTx/>
                <a:ea typeface="Segoe UI" pitchFamily="34" charset="0"/>
                <a:cs typeface="Segoe UI" pitchFamily="34" charset="0"/>
              </a:rPr>
              <a:t>analytics</a:t>
            </a:r>
          </a:p>
        </p:txBody>
      </p:sp>
      <p:grpSp>
        <p:nvGrpSpPr>
          <p:cNvPr id="69" name="Group 68">
            <a:extLst>
              <a:ext uri="{FF2B5EF4-FFF2-40B4-BE49-F238E27FC236}">
                <a16:creationId xmlns:a16="http://schemas.microsoft.com/office/drawing/2014/main" id="{9D854FB1-F106-4A72-B5B2-8CC6EE346AAE}"/>
              </a:ext>
            </a:extLst>
          </p:cNvPr>
          <p:cNvGrpSpPr>
            <a:grpSpLocks noChangeAspect="1"/>
          </p:cNvGrpSpPr>
          <p:nvPr/>
        </p:nvGrpSpPr>
        <p:grpSpPr>
          <a:xfrm>
            <a:off x="6743772" y="2661486"/>
            <a:ext cx="965313" cy="965313"/>
            <a:chOff x="5216172" y="2901969"/>
            <a:chExt cx="1715722" cy="1715722"/>
          </a:xfrm>
          <a:effectLst/>
        </p:grpSpPr>
        <p:sp>
          <p:nvSpPr>
            <p:cNvPr id="70" name="Oval 69">
              <a:extLst>
                <a:ext uri="{FF2B5EF4-FFF2-40B4-BE49-F238E27FC236}">
                  <a16:creationId xmlns:a16="http://schemas.microsoft.com/office/drawing/2014/main" id="{6F41731D-53FA-46FF-8F47-09665880DFAE}"/>
                </a:ext>
              </a:extLst>
            </p:cNvPr>
            <p:cNvSpPr/>
            <p:nvPr/>
          </p:nvSpPr>
          <p:spPr bwMode="auto">
            <a:xfrm>
              <a:off x="5216172" y="2901969"/>
              <a:ext cx="1715722" cy="1715722"/>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71" name="Group 4">
              <a:extLst>
                <a:ext uri="{FF2B5EF4-FFF2-40B4-BE49-F238E27FC236}">
                  <a16:creationId xmlns:a16="http://schemas.microsoft.com/office/drawing/2014/main" id="{3C23A0B9-2E23-4347-96C7-286202457CA9}"/>
                </a:ext>
              </a:extLst>
            </p:cNvPr>
            <p:cNvGrpSpPr>
              <a:grpSpLocks noChangeAspect="1"/>
            </p:cNvGrpSpPr>
            <p:nvPr/>
          </p:nvGrpSpPr>
          <p:grpSpPr bwMode="auto">
            <a:xfrm>
              <a:off x="5681957" y="3458105"/>
              <a:ext cx="784087" cy="603379"/>
              <a:chOff x="2880" y="2176"/>
              <a:chExt cx="256" cy="197"/>
            </a:xfrm>
            <a:solidFill>
              <a:srgbClr val="D2D2D2"/>
            </a:solidFill>
          </p:grpSpPr>
          <p:sp>
            <p:nvSpPr>
              <p:cNvPr id="72" name="Freeform 5">
                <a:extLst>
                  <a:ext uri="{FF2B5EF4-FFF2-40B4-BE49-F238E27FC236}">
                    <a16:creationId xmlns:a16="http://schemas.microsoft.com/office/drawing/2014/main" id="{C076B387-94B5-4DBB-808A-5B604D6D7582}"/>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3" name="Freeform 6">
                <a:extLst>
                  <a:ext uri="{FF2B5EF4-FFF2-40B4-BE49-F238E27FC236}">
                    <a16:creationId xmlns:a16="http://schemas.microsoft.com/office/drawing/2014/main" id="{5FCFD52C-4AB5-4AB8-BAA0-D18FAF6EFD0B}"/>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4" name="Freeform 7">
                <a:extLst>
                  <a:ext uri="{FF2B5EF4-FFF2-40B4-BE49-F238E27FC236}">
                    <a16:creationId xmlns:a16="http://schemas.microsoft.com/office/drawing/2014/main" id="{97049042-11CE-4CA5-9D55-5EA676C5831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5" name="Freeform 8">
                <a:extLst>
                  <a:ext uri="{FF2B5EF4-FFF2-40B4-BE49-F238E27FC236}">
                    <a16:creationId xmlns:a16="http://schemas.microsoft.com/office/drawing/2014/main" id="{A0E82C81-2A51-491B-90F0-495FBC35822D}"/>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6" name="Freeform 9">
                <a:extLst>
                  <a:ext uri="{FF2B5EF4-FFF2-40B4-BE49-F238E27FC236}">
                    <a16:creationId xmlns:a16="http://schemas.microsoft.com/office/drawing/2014/main" id="{F3134913-13F1-4674-AE39-9DFF9F9A7C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77" name="Rectangle 76">
            <a:extLst>
              <a:ext uri="{FF2B5EF4-FFF2-40B4-BE49-F238E27FC236}">
                <a16:creationId xmlns:a16="http://schemas.microsoft.com/office/drawing/2014/main" id="{E01B6F3C-3F07-41B3-A81B-0DB2F9670D56}"/>
              </a:ext>
            </a:extLst>
          </p:cNvPr>
          <p:cNvSpPr/>
          <p:nvPr/>
        </p:nvSpPr>
        <p:spPr bwMode="auto">
          <a:xfrm>
            <a:off x="6512385" y="3746779"/>
            <a:ext cx="1428088" cy="962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i="0" u="none" strike="noStrike" kern="1200" cap="none" spc="0" normalizeH="0" baseline="0" noProof="0">
                <a:ln>
                  <a:noFill/>
                </a:ln>
                <a:solidFill>
                  <a:schemeClr val="tx1"/>
                </a:solidFill>
                <a:effectLst/>
                <a:uLnTx/>
                <a:uFillTx/>
                <a:latin typeface="+mj-lt"/>
                <a:ea typeface="+mn-ea"/>
                <a:cs typeface="Segoe UI" pitchFamily="34" charset="0"/>
              </a:rPr>
              <a:t>Power</a:t>
            </a:r>
            <a:br>
              <a:rPr kumimoji="0" lang="en-US" sz="1600" i="0" u="none" strike="noStrike" kern="1200" cap="none" spc="0" normalizeH="0" baseline="0" noProof="0">
                <a:ln>
                  <a:noFill/>
                </a:ln>
                <a:solidFill>
                  <a:schemeClr val="tx1"/>
                </a:solidFill>
                <a:effectLst/>
                <a:uLnTx/>
                <a:uFillTx/>
                <a:latin typeface="+mj-lt"/>
                <a:ea typeface="+mn-ea"/>
                <a:cs typeface="Segoe UI" pitchFamily="34" charset="0"/>
              </a:rPr>
            </a:br>
            <a:r>
              <a:rPr kumimoji="0" lang="en-US" sz="1600" i="0" u="none" strike="noStrike" kern="1200" cap="none" spc="0" normalizeH="0" baseline="0" noProof="0">
                <a:ln>
                  <a:noFill/>
                </a:ln>
                <a:solidFill>
                  <a:schemeClr val="tx1"/>
                </a:solidFill>
                <a:effectLst/>
                <a:uLnTx/>
                <a:uFillTx/>
                <a:latin typeface="+mj-lt"/>
                <a:ea typeface="+mn-ea"/>
                <a:cs typeface="Segoe UI" pitchFamily="34" charset="0"/>
              </a:rPr>
              <a:t>Apps</a:t>
            </a:r>
          </a:p>
          <a:p>
            <a:pPr marL="0" marR="0" lvl="0" indent="0" algn="ctr" defTabSz="932114" rtl="0" eaLnBrk="1" fontAlgn="base" latinLnBrk="0" hangingPunct="1">
              <a:spcBef>
                <a:spcPct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Application development</a:t>
            </a:r>
          </a:p>
        </p:txBody>
      </p:sp>
      <p:grpSp>
        <p:nvGrpSpPr>
          <p:cNvPr id="78" name="Group 77">
            <a:extLst>
              <a:ext uri="{FF2B5EF4-FFF2-40B4-BE49-F238E27FC236}">
                <a16:creationId xmlns:a16="http://schemas.microsoft.com/office/drawing/2014/main" id="{44C610A3-37E2-48E6-A6D5-A7DB9A88F81A}"/>
              </a:ext>
            </a:extLst>
          </p:cNvPr>
          <p:cNvGrpSpPr/>
          <p:nvPr/>
        </p:nvGrpSpPr>
        <p:grpSpPr>
          <a:xfrm>
            <a:off x="8610916" y="2661486"/>
            <a:ext cx="965313" cy="965313"/>
            <a:chOff x="4726930" y="4471473"/>
            <a:chExt cx="703088" cy="703088"/>
          </a:xfrm>
          <a:effectLst>
            <a:outerShdw blurRad="177800" dist="177800" dir="5400000" algn="t" rotWithShape="0">
              <a:prstClr val="black">
                <a:alpha val="10000"/>
              </a:prstClr>
            </a:outerShdw>
          </a:effectLst>
        </p:grpSpPr>
        <p:sp>
          <p:nvSpPr>
            <p:cNvPr id="79" name="Oval 78">
              <a:extLst>
                <a:ext uri="{FF2B5EF4-FFF2-40B4-BE49-F238E27FC236}">
                  <a16:creationId xmlns:a16="http://schemas.microsoft.com/office/drawing/2014/main" id="{F1A0F8DF-6776-4F01-A4F3-412772F8161C}"/>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80" name="Group 79">
              <a:extLst>
                <a:ext uri="{FF2B5EF4-FFF2-40B4-BE49-F238E27FC236}">
                  <a16:creationId xmlns:a16="http://schemas.microsoft.com/office/drawing/2014/main" id="{873E25B1-4628-4C29-AC45-552EFC11D3BD}"/>
                </a:ext>
              </a:extLst>
            </p:cNvPr>
            <p:cNvGrpSpPr/>
            <p:nvPr/>
          </p:nvGrpSpPr>
          <p:grpSpPr>
            <a:xfrm>
              <a:off x="4902990" y="4689695"/>
              <a:ext cx="350968" cy="266644"/>
              <a:chOff x="-1146792" y="678443"/>
              <a:chExt cx="1017587" cy="773113"/>
            </a:xfrm>
            <a:solidFill>
              <a:srgbClr val="D2D2D2"/>
            </a:solidFill>
          </p:grpSpPr>
          <p:sp>
            <p:nvSpPr>
              <p:cNvPr id="81" name="Freeform 5">
                <a:extLst>
                  <a:ext uri="{FF2B5EF4-FFF2-40B4-BE49-F238E27FC236}">
                    <a16:creationId xmlns:a16="http://schemas.microsoft.com/office/drawing/2014/main" id="{8262D28A-35F5-4B0C-9BAE-42C48A8C88C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6">
                <a:extLst>
                  <a:ext uri="{FF2B5EF4-FFF2-40B4-BE49-F238E27FC236}">
                    <a16:creationId xmlns:a16="http://schemas.microsoft.com/office/drawing/2014/main" id="{BAEAC0F1-0B7D-4F94-A97B-D95B3585A38D}"/>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83" name="Rectangle 82">
            <a:extLst>
              <a:ext uri="{FF2B5EF4-FFF2-40B4-BE49-F238E27FC236}">
                <a16:creationId xmlns:a16="http://schemas.microsoft.com/office/drawing/2014/main" id="{0977F70C-5C93-4A0D-9DFE-4AE3DEC88F2F}"/>
              </a:ext>
            </a:extLst>
          </p:cNvPr>
          <p:cNvSpPr/>
          <p:nvPr/>
        </p:nvSpPr>
        <p:spPr bwMode="auto">
          <a:xfrm>
            <a:off x="8380927" y="3746779"/>
            <a:ext cx="1428088" cy="962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i="0" u="none" strike="noStrike" kern="1200" cap="none" spc="0" normalizeH="0" baseline="0" noProof="0">
                <a:ln>
                  <a:noFill/>
                </a:ln>
                <a:solidFill>
                  <a:schemeClr val="tx1"/>
                </a:solidFill>
                <a:effectLst/>
                <a:uLnTx/>
                <a:uFillTx/>
                <a:latin typeface="+mj-lt"/>
                <a:ea typeface="+mn-ea"/>
                <a:cs typeface="Segoe UI" pitchFamily="34" charset="0"/>
              </a:rPr>
              <a:t>Power Automate</a:t>
            </a:r>
          </a:p>
          <a:p>
            <a:pPr marL="0" marR="0" lvl="0" indent="0" algn="ctr" defTabSz="932114" rtl="0" eaLnBrk="1" fontAlgn="base" latinLnBrk="0" hangingPunct="1">
              <a:spcBef>
                <a:spcPct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Segoe UI" pitchFamily="34" charset="0"/>
              </a:rPr>
              <a:t>Process</a:t>
            </a:r>
            <a:br>
              <a:rPr kumimoji="0" lang="en-US" sz="1200" b="0" i="0" u="none" strike="noStrike" kern="1200" cap="none" spc="0" normalizeH="0" baseline="0" noProof="0">
                <a:ln>
                  <a:noFill/>
                </a:ln>
                <a:solidFill>
                  <a:schemeClr val="tx1"/>
                </a:solidFill>
                <a:effectLst/>
                <a:uLnTx/>
                <a:uFillTx/>
                <a:ea typeface="+mn-ea"/>
                <a:cs typeface="Segoe UI" pitchFamily="34" charset="0"/>
              </a:rPr>
            </a:br>
            <a:r>
              <a:rPr kumimoji="0" lang="en-US" sz="1200" b="0" i="0" u="none" strike="noStrike" kern="1200" cap="none" spc="0" normalizeH="0" baseline="0" noProof="0">
                <a:ln>
                  <a:noFill/>
                </a:ln>
                <a:solidFill>
                  <a:schemeClr val="tx1"/>
                </a:solidFill>
                <a:effectLst/>
                <a:uLnTx/>
                <a:uFillTx/>
                <a:ea typeface="+mn-ea"/>
                <a:cs typeface="Segoe UI" pitchFamily="34" charset="0"/>
              </a:rPr>
              <a:t>automation</a:t>
            </a:r>
          </a:p>
        </p:txBody>
      </p:sp>
      <p:grpSp>
        <p:nvGrpSpPr>
          <p:cNvPr id="84" name="Group 83">
            <a:extLst>
              <a:ext uri="{FF2B5EF4-FFF2-40B4-BE49-F238E27FC236}">
                <a16:creationId xmlns:a16="http://schemas.microsoft.com/office/drawing/2014/main" id="{3B681283-DC72-409A-8115-3CED52369BBC}"/>
              </a:ext>
            </a:extLst>
          </p:cNvPr>
          <p:cNvGrpSpPr/>
          <p:nvPr/>
        </p:nvGrpSpPr>
        <p:grpSpPr>
          <a:xfrm>
            <a:off x="10249469" y="2661486"/>
            <a:ext cx="1428088" cy="2048083"/>
            <a:chOff x="10249469" y="2661486"/>
            <a:chExt cx="1428088" cy="2048083"/>
          </a:xfrm>
        </p:grpSpPr>
        <p:sp>
          <p:nvSpPr>
            <p:cNvPr id="85" name="Rectangle 84">
              <a:extLst>
                <a:ext uri="{FF2B5EF4-FFF2-40B4-BE49-F238E27FC236}">
                  <a16:creationId xmlns:a16="http://schemas.microsoft.com/office/drawing/2014/main" id="{E72895D1-8DA5-4CC0-8F79-69A8F74D9649}"/>
                </a:ext>
              </a:extLst>
            </p:cNvPr>
            <p:cNvSpPr/>
            <p:nvPr/>
          </p:nvSpPr>
          <p:spPr bwMode="auto">
            <a:xfrm>
              <a:off x="10249469" y="3746779"/>
              <a:ext cx="1428088" cy="962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spcBef>
                  <a:spcPct val="0"/>
                </a:spcBef>
                <a:spcAft>
                  <a:spcPts val="400"/>
                </a:spcAft>
                <a:buClrTx/>
                <a:buSzTx/>
                <a:buFontTx/>
                <a:buNone/>
                <a:tabLst/>
                <a:defRPr/>
              </a:pPr>
              <a:r>
                <a:rPr kumimoji="0" lang="en-US" sz="1600" i="0" u="none" strike="noStrike" kern="1200" cap="none" spc="0" normalizeH="0" baseline="0" noProof="0">
                  <a:ln>
                    <a:noFill/>
                  </a:ln>
                  <a:solidFill>
                    <a:schemeClr val="tx1"/>
                  </a:solidFill>
                  <a:effectLst/>
                  <a:uLnTx/>
                  <a:uFillTx/>
                  <a:latin typeface="+mj-lt"/>
                  <a:ea typeface="+mn-ea"/>
                  <a:cs typeface="Segoe UI" pitchFamily="34" charset="0"/>
                </a:rPr>
                <a:t>Power Virtual Agents</a:t>
              </a:r>
            </a:p>
            <a:p>
              <a:pPr algn="ctr" defTabSz="932114">
                <a:spcBef>
                  <a:spcPct val="0"/>
                </a:spcBef>
                <a:spcAft>
                  <a:spcPts val="400"/>
                </a:spcAft>
                <a:defRPr/>
              </a:pPr>
              <a:r>
                <a:rPr lang="en-US" sz="1200">
                  <a:solidFill>
                    <a:schemeClr val="tx1"/>
                  </a:solidFill>
                  <a:cs typeface="Segoe UI"/>
                </a:rPr>
                <a:t>Intelligent virtual agents</a:t>
              </a:r>
            </a:p>
          </p:txBody>
        </p:sp>
        <p:grpSp>
          <p:nvGrpSpPr>
            <p:cNvPr id="86" name="Group 85">
              <a:extLst>
                <a:ext uri="{FF2B5EF4-FFF2-40B4-BE49-F238E27FC236}">
                  <a16:creationId xmlns:a16="http://schemas.microsoft.com/office/drawing/2014/main" id="{9AC77716-C4DC-4AFC-B815-88E7B42C56E7}"/>
                </a:ext>
              </a:extLst>
            </p:cNvPr>
            <p:cNvGrpSpPr/>
            <p:nvPr/>
          </p:nvGrpSpPr>
          <p:grpSpPr>
            <a:xfrm>
              <a:off x="10481515" y="2661486"/>
              <a:ext cx="965313" cy="965313"/>
              <a:chOff x="10558126" y="2653713"/>
              <a:chExt cx="1051262" cy="1051262"/>
            </a:xfrm>
          </p:grpSpPr>
          <p:sp>
            <p:nvSpPr>
              <p:cNvPr id="87" name="Oval 86">
                <a:extLst>
                  <a:ext uri="{FF2B5EF4-FFF2-40B4-BE49-F238E27FC236}">
                    <a16:creationId xmlns:a16="http://schemas.microsoft.com/office/drawing/2014/main" id="{CB207808-0449-45C8-891B-4B3E02B522BF}"/>
                  </a:ext>
                </a:extLst>
              </p:cNvPr>
              <p:cNvSpPr/>
              <p:nvPr/>
            </p:nvSpPr>
            <p:spPr bwMode="auto">
              <a:xfrm>
                <a:off x="10558126" y="2653713"/>
                <a:ext cx="1051262" cy="1051262"/>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88" name="Picture 87" descr="A picture containing drawing&#10;&#10;Description automatically generated">
                <a:extLst>
                  <a:ext uri="{FF2B5EF4-FFF2-40B4-BE49-F238E27FC236}">
                    <a16:creationId xmlns:a16="http://schemas.microsoft.com/office/drawing/2014/main" id="{25A1DDE6-DD8E-49F5-81DD-6DD03D3B35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06422" y="2918655"/>
                <a:ext cx="553237" cy="553237"/>
              </a:xfrm>
              <a:prstGeom prst="rect">
                <a:avLst/>
              </a:prstGeom>
            </p:spPr>
          </p:pic>
        </p:grpSp>
      </p:grpSp>
      <p:sp>
        <p:nvSpPr>
          <p:cNvPr id="89" name="Rectangle 88">
            <a:extLst>
              <a:ext uri="{FF2B5EF4-FFF2-40B4-BE49-F238E27FC236}">
                <a16:creationId xmlns:a16="http://schemas.microsoft.com/office/drawing/2014/main" id="{F0B693F0-71C0-4126-952C-0DFF54A2BCF6}"/>
              </a:ext>
            </a:extLst>
          </p:cNvPr>
          <p:cNvSpPr/>
          <p:nvPr/>
        </p:nvSpPr>
        <p:spPr>
          <a:xfrm>
            <a:off x="5324474" y="1963732"/>
            <a:ext cx="6122355" cy="338554"/>
          </a:xfrm>
          <a:prstGeom prst="rect">
            <a:avLst/>
          </a:prstGeom>
          <a:noFill/>
          <a:ln w="9525" cap="flat" cmpd="sng" algn="ctr">
            <a:noFill/>
            <a:prstDash val="dash"/>
          </a:ln>
          <a:effectLst/>
        </p:spPr>
        <p:txBody>
          <a:bodyPr wrap="square" lIns="91401" tIns="0" rIns="0" bIns="0" rtlCol="0" anchor="ctr" anchorCtr="0">
            <a:spAutoFit/>
          </a:bodyPr>
          <a:lstStyle/>
          <a:p>
            <a:pPr marL="0" marR="0" indent="0" algn="ctr" defTabSz="932742" fontAlgn="auto">
              <a:spcBef>
                <a:spcPct val="0"/>
              </a:spcBef>
              <a:spcAft>
                <a:spcPts val="0"/>
              </a:spcAft>
              <a:buClrTx/>
              <a:buSzTx/>
              <a:tabLst/>
              <a:defRPr/>
            </a:pPr>
            <a:r>
              <a:rPr lang="en-US" sz="2200" spc="-50">
                <a:ln w="3175">
                  <a:noFill/>
                </a:ln>
                <a:latin typeface="+mj-lt"/>
                <a:cs typeface="Segoe UI" pitchFamily="34" charset="0"/>
              </a:rPr>
              <a:t>Innovation anywhere. Unlocks value everywhere</a:t>
            </a:r>
          </a:p>
        </p:txBody>
      </p:sp>
      <p:sp>
        <p:nvSpPr>
          <p:cNvPr id="102" name="Freeform: Shape 101">
            <a:extLst>
              <a:ext uri="{FF2B5EF4-FFF2-40B4-BE49-F238E27FC236}">
                <a16:creationId xmlns:a16="http://schemas.microsoft.com/office/drawing/2014/main" id="{23AA53A3-D0C1-49C2-9611-69BDC4762D1F}"/>
              </a:ext>
            </a:extLst>
          </p:cNvPr>
          <p:cNvSpPr/>
          <p:nvPr/>
        </p:nvSpPr>
        <p:spPr bwMode="auto">
          <a:xfrm>
            <a:off x="-1" y="0"/>
            <a:ext cx="5951153" cy="5131162"/>
          </a:xfrm>
          <a:custGeom>
            <a:avLst/>
            <a:gdLst>
              <a:gd name="connsiteX0" fmla="*/ 0 w 5951153"/>
              <a:gd name="connsiteY0" fmla="*/ 0 h 5131162"/>
              <a:gd name="connsiteX1" fmla="*/ 5049405 w 5951153"/>
              <a:gd name="connsiteY1" fmla="*/ 0 h 5131162"/>
              <a:gd name="connsiteX2" fmla="*/ 5951153 w 5951153"/>
              <a:gd name="connsiteY2" fmla="*/ 901748 h 5131162"/>
              <a:gd name="connsiteX3" fmla="*/ 1721739 w 5951153"/>
              <a:gd name="connsiteY3" fmla="*/ 5131162 h 5131162"/>
              <a:gd name="connsiteX4" fmla="*/ 0 w 5951153"/>
              <a:gd name="connsiteY4" fmla="*/ 3409423 h 5131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1153" h="5131162">
                <a:moveTo>
                  <a:pt x="0" y="0"/>
                </a:moveTo>
                <a:lnTo>
                  <a:pt x="5049405" y="0"/>
                </a:lnTo>
                <a:lnTo>
                  <a:pt x="5951153" y="901748"/>
                </a:lnTo>
                <a:lnTo>
                  <a:pt x="1721739" y="5131162"/>
                </a:lnTo>
                <a:lnTo>
                  <a:pt x="0" y="3409423"/>
                </a:lnTo>
                <a:close/>
              </a:path>
            </a:pathLst>
          </a:custGeom>
          <a:solidFill>
            <a:schemeClr val="bg1">
              <a:lumMod val="85000"/>
              <a:lumOff val="1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nvGrpSpPr>
          <p:cNvPr id="103" name="Group 102">
            <a:extLst>
              <a:ext uri="{FF2B5EF4-FFF2-40B4-BE49-F238E27FC236}">
                <a16:creationId xmlns:a16="http://schemas.microsoft.com/office/drawing/2014/main" id="{3164CE11-8C09-4DC8-91EA-FCC8E699DE35}"/>
              </a:ext>
            </a:extLst>
          </p:cNvPr>
          <p:cNvGrpSpPr/>
          <p:nvPr/>
        </p:nvGrpSpPr>
        <p:grpSpPr>
          <a:xfrm>
            <a:off x="615652" y="788621"/>
            <a:ext cx="3888571" cy="2118274"/>
            <a:chOff x="-12376624" y="2253877"/>
            <a:chExt cx="36946840" cy="2118274"/>
          </a:xfrm>
        </p:grpSpPr>
        <p:sp>
          <p:nvSpPr>
            <p:cNvPr id="104" name="Rectangle 103">
              <a:extLst>
                <a:ext uri="{FF2B5EF4-FFF2-40B4-BE49-F238E27FC236}">
                  <a16:creationId xmlns:a16="http://schemas.microsoft.com/office/drawing/2014/main" id="{28B1D5CB-7660-4CEC-AC4C-4368441CDF23}"/>
                </a:ext>
              </a:extLst>
            </p:cNvPr>
            <p:cNvSpPr/>
            <p:nvPr/>
          </p:nvSpPr>
          <p:spPr>
            <a:xfrm>
              <a:off x="-12376624" y="2253877"/>
              <a:ext cx="35539465" cy="1021886"/>
            </a:xfrm>
            <a:prstGeom prst="rect">
              <a:avLst/>
            </a:prstGeom>
          </p:spPr>
          <p:txBody>
            <a:bodyPr wrap="none" lIns="0" tIns="0" rIns="0" bIns="0">
              <a:noAutofit/>
            </a:bodyPr>
            <a:lstStyle/>
            <a:p>
              <a:r>
                <a:rPr lang="en-US" sz="3600">
                  <a:latin typeface="+mj-lt"/>
                </a:rPr>
                <a:t>Microsoft Power</a:t>
              </a:r>
              <a:br>
                <a:rPr lang="en-US" sz="3600">
                  <a:latin typeface="+mj-lt"/>
                </a:rPr>
              </a:br>
              <a:r>
                <a:rPr lang="en-US" sz="3600">
                  <a:latin typeface="+mj-lt"/>
                </a:rPr>
                <a:t>Platform</a:t>
              </a:r>
            </a:p>
          </p:txBody>
        </p:sp>
        <p:sp>
          <p:nvSpPr>
            <p:cNvPr id="105" name="Rectangle 104">
              <a:extLst>
                <a:ext uri="{FF2B5EF4-FFF2-40B4-BE49-F238E27FC236}">
                  <a16:creationId xmlns:a16="http://schemas.microsoft.com/office/drawing/2014/main" id="{E9F8BDBB-503B-4BB7-85AA-5AF29924EAF3}"/>
                </a:ext>
              </a:extLst>
            </p:cNvPr>
            <p:cNvSpPr/>
            <p:nvPr/>
          </p:nvSpPr>
          <p:spPr>
            <a:xfrm>
              <a:off x="-12376624" y="3487175"/>
              <a:ext cx="36946840" cy="884976"/>
            </a:xfrm>
            <a:prstGeom prst="rect">
              <a:avLst/>
            </a:prstGeom>
          </p:spPr>
          <p:txBody>
            <a:bodyPr wrap="square" lIns="0" tIns="0" rIns="0" bIns="0">
              <a:noAutofit/>
            </a:bodyPr>
            <a:lstStyle/>
            <a:p>
              <a:pPr lvl="0" defTabSz="913523">
                <a:defRPr/>
              </a:pPr>
              <a:r>
                <a:rPr lang="en-US" sz="1800">
                  <a:cs typeface="Segoe UI Semilight"/>
                </a:rPr>
                <a:t>The low-code platform that spans Office 365, Azure, Dynamics 365,</a:t>
              </a:r>
              <a:br>
                <a:rPr lang="en-US" sz="1800">
                  <a:cs typeface="Segoe UI Semilight"/>
                </a:rPr>
              </a:br>
              <a:r>
                <a:rPr lang="en-US" sz="1800">
                  <a:cs typeface="Segoe UI Semilight"/>
                </a:rPr>
                <a:t>and standalone applications</a:t>
              </a:r>
            </a:p>
          </p:txBody>
        </p:sp>
      </p:grpSp>
      <p:grpSp>
        <p:nvGrpSpPr>
          <p:cNvPr id="2" name="Group 1">
            <a:extLst>
              <a:ext uri="{FF2B5EF4-FFF2-40B4-BE49-F238E27FC236}">
                <a16:creationId xmlns:a16="http://schemas.microsoft.com/office/drawing/2014/main" id="{9B0A61CE-80E8-4353-AE36-324385AD8AEB}"/>
              </a:ext>
            </a:extLst>
          </p:cNvPr>
          <p:cNvGrpSpPr/>
          <p:nvPr/>
        </p:nvGrpSpPr>
        <p:grpSpPr>
          <a:xfrm>
            <a:off x="4658726" y="4926094"/>
            <a:ext cx="6100717" cy="1496373"/>
            <a:chOff x="5373806" y="4927270"/>
            <a:chExt cx="6100717" cy="1496373"/>
          </a:xfrm>
        </p:grpSpPr>
        <p:pic>
          <p:nvPicPr>
            <p:cNvPr id="92" name="Graphic 91">
              <a:extLst>
                <a:ext uri="{FF2B5EF4-FFF2-40B4-BE49-F238E27FC236}">
                  <a16:creationId xmlns:a16="http://schemas.microsoft.com/office/drawing/2014/main" id="{F502D23A-76CA-47DF-8C5D-0FFFFEFF58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09096" y="5279127"/>
              <a:ext cx="406844" cy="406844"/>
            </a:xfrm>
            <a:prstGeom prst="rect">
              <a:avLst/>
            </a:prstGeom>
          </p:spPr>
        </p:pic>
        <p:sp>
          <p:nvSpPr>
            <p:cNvPr id="93" name="plug" title="Icon of a power plug showing an A to B connection">
              <a:extLst>
                <a:ext uri="{FF2B5EF4-FFF2-40B4-BE49-F238E27FC236}">
                  <a16:creationId xmlns:a16="http://schemas.microsoft.com/office/drawing/2014/main" id="{355F0585-C8C5-4366-9EAC-B904EF375AEF}"/>
                </a:ext>
              </a:extLst>
            </p:cNvPr>
            <p:cNvSpPr>
              <a:spLocks noChangeAspect="1" noEditPoints="1"/>
            </p:cNvSpPr>
            <p:nvPr/>
          </p:nvSpPr>
          <p:spPr bwMode="auto">
            <a:xfrm>
              <a:off x="5847920" y="5264833"/>
              <a:ext cx="404280" cy="38321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pic>
          <p:nvPicPr>
            <p:cNvPr id="94" name="Graphic 93">
              <a:extLst>
                <a:ext uri="{FF2B5EF4-FFF2-40B4-BE49-F238E27FC236}">
                  <a16:creationId xmlns:a16="http://schemas.microsoft.com/office/drawing/2014/main" id="{3638E4CB-42F2-4831-8DE9-16AE48D3B9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87950" y="5375514"/>
              <a:ext cx="437774" cy="449498"/>
            </a:xfrm>
            <a:prstGeom prst="rect">
              <a:avLst/>
            </a:prstGeom>
          </p:spPr>
        </p:pic>
        <p:sp>
          <p:nvSpPr>
            <p:cNvPr id="97" name="Rectangle 42">
              <a:extLst>
                <a:ext uri="{FF2B5EF4-FFF2-40B4-BE49-F238E27FC236}">
                  <a16:creationId xmlns:a16="http://schemas.microsoft.com/office/drawing/2014/main" id="{75FF01C5-3B17-4E14-BC63-3BB1A426AA70}"/>
                </a:ext>
              </a:extLst>
            </p:cNvPr>
            <p:cNvSpPr/>
            <p:nvPr/>
          </p:nvSpPr>
          <p:spPr bwMode="auto">
            <a:xfrm flipV="1">
              <a:off x="6095999" y="4927270"/>
              <a:ext cx="4712413" cy="271720"/>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270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31" name="Straight Connector 130">
              <a:extLst>
                <a:ext uri="{FF2B5EF4-FFF2-40B4-BE49-F238E27FC236}">
                  <a16:creationId xmlns:a16="http://schemas.microsoft.com/office/drawing/2014/main" id="{2785F662-A588-414B-A3A5-05EC819DE894}"/>
                </a:ext>
              </a:extLst>
            </p:cNvPr>
            <p:cNvCxnSpPr>
              <a:cxnSpLocks/>
            </p:cNvCxnSpPr>
            <p:nvPr/>
          </p:nvCxnSpPr>
          <p:spPr>
            <a:xfrm>
              <a:off x="8380927" y="4982496"/>
              <a:ext cx="0" cy="271720"/>
            </a:xfrm>
            <a:prstGeom prst="line">
              <a:avLst/>
            </a:prstGeom>
            <a:ln w="1270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F9950127-C7A4-4673-A4E2-3C91D40DB858}"/>
                </a:ext>
              </a:extLst>
            </p:cNvPr>
            <p:cNvSpPr/>
            <p:nvPr/>
          </p:nvSpPr>
          <p:spPr bwMode="auto">
            <a:xfrm>
              <a:off x="5373806" y="5848371"/>
              <a:ext cx="1328968" cy="431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defTabSz="932114" fontAlgn="base">
                <a:spcBef>
                  <a:spcPct val="0"/>
                </a:spcBef>
                <a:spcAft>
                  <a:spcPts val="400"/>
                </a:spcAft>
                <a:defRPr/>
              </a:pPr>
              <a:r>
                <a:rPr lang="en-US" sz="1600" b="1">
                  <a:solidFill>
                    <a:schemeClr val="tx1"/>
                  </a:solidFill>
                  <a:latin typeface="+mj-lt"/>
                  <a:cs typeface="Segoe UI" pitchFamily="34" charset="0"/>
                </a:rPr>
                <a:t>Data</a:t>
              </a:r>
              <a:br>
                <a:rPr lang="en-US" sz="1600" b="1">
                  <a:solidFill>
                    <a:schemeClr val="tx1"/>
                  </a:solidFill>
                  <a:latin typeface="+mj-lt"/>
                  <a:cs typeface="Segoe UI" pitchFamily="34" charset="0"/>
                </a:rPr>
              </a:br>
              <a:r>
                <a:rPr lang="en-US" sz="1600" b="1">
                  <a:solidFill>
                    <a:schemeClr val="tx1"/>
                  </a:solidFill>
                  <a:latin typeface="+mj-lt"/>
                  <a:cs typeface="Segoe UI" pitchFamily="34" charset="0"/>
                </a:rPr>
                <a:t>connectors</a:t>
              </a:r>
            </a:p>
          </p:txBody>
        </p:sp>
        <p:sp>
          <p:nvSpPr>
            <p:cNvPr id="139" name="Rectangle 138">
              <a:extLst>
                <a:ext uri="{FF2B5EF4-FFF2-40B4-BE49-F238E27FC236}">
                  <a16:creationId xmlns:a16="http://schemas.microsoft.com/office/drawing/2014/main" id="{E20209C9-C61C-4507-A3CC-AAE8BF8A89F6}"/>
                </a:ext>
              </a:extLst>
            </p:cNvPr>
            <p:cNvSpPr/>
            <p:nvPr/>
          </p:nvSpPr>
          <p:spPr bwMode="auto">
            <a:xfrm>
              <a:off x="7642353" y="5992196"/>
              <a:ext cx="1328968" cy="431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defTabSz="932114" fontAlgn="base">
                <a:spcBef>
                  <a:spcPct val="0"/>
                </a:spcBef>
                <a:spcAft>
                  <a:spcPts val="400"/>
                </a:spcAft>
                <a:defRPr/>
              </a:pPr>
              <a:r>
                <a:rPr lang="en-US" sz="1600" b="1">
                  <a:solidFill>
                    <a:schemeClr val="tx1"/>
                  </a:solidFill>
                  <a:latin typeface="+mj-lt"/>
                  <a:cs typeface="Segoe UI" pitchFamily="34" charset="0"/>
                </a:rPr>
                <a:t>AI Builder</a:t>
              </a:r>
            </a:p>
          </p:txBody>
        </p:sp>
        <p:sp>
          <p:nvSpPr>
            <p:cNvPr id="140" name="Rectangle 139">
              <a:extLst>
                <a:ext uri="{FF2B5EF4-FFF2-40B4-BE49-F238E27FC236}">
                  <a16:creationId xmlns:a16="http://schemas.microsoft.com/office/drawing/2014/main" id="{F10E19CC-4C41-4073-9644-FB9E72ABB82C}"/>
                </a:ext>
              </a:extLst>
            </p:cNvPr>
            <p:cNvSpPr/>
            <p:nvPr/>
          </p:nvSpPr>
          <p:spPr bwMode="auto">
            <a:xfrm>
              <a:off x="10145555" y="5874482"/>
              <a:ext cx="1328968" cy="431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defTabSz="932114" fontAlgn="base">
                <a:spcBef>
                  <a:spcPct val="0"/>
                </a:spcBef>
                <a:spcAft>
                  <a:spcPts val="400"/>
                </a:spcAft>
                <a:defRPr/>
              </a:pPr>
              <a:r>
                <a:rPr lang="en-US" sz="1600" b="1">
                  <a:solidFill>
                    <a:schemeClr val="tx1"/>
                  </a:solidFill>
                  <a:latin typeface="+mj-lt"/>
                  <a:cs typeface="Segoe UI" pitchFamily="34" charset="0"/>
                </a:rPr>
                <a:t>Common</a:t>
              </a:r>
              <a:br>
                <a:rPr lang="en-US" sz="1600" b="1">
                  <a:solidFill>
                    <a:schemeClr val="tx1"/>
                  </a:solidFill>
                  <a:latin typeface="+mj-lt"/>
                  <a:cs typeface="Segoe UI" pitchFamily="34" charset="0"/>
                </a:rPr>
              </a:br>
              <a:r>
                <a:rPr lang="en-US" sz="1600" b="1">
                  <a:solidFill>
                    <a:schemeClr val="tx1"/>
                  </a:solidFill>
                  <a:latin typeface="+mj-lt"/>
                  <a:cs typeface="Segoe UI" pitchFamily="34" charset="0"/>
                </a:rPr>
                <a:t>Data Service</a:t>
              </a:r>
            </a:p>
          </p:txBody>
        </p:sp>
      </p:grpSp>
      <p:sp>
        <p:nvSpPr>
          <p:cNvPr id="3" name="Title 2">
            <a:extLst>
              <a:ext uri="{FF2B5EF4-FFF2-40B4-BE49-F238E27FC236}">
                <a16:creationId xmlns:a16="http://schemas.microsoft.com/office/drawing/2014/main" id="{1C92B4D0-A5F3-44D8-B094-BE2EF6E0C48E}"/>
              </a:ext>
            </a:extLst>
          </p:cNvPr>
          <p:cNvSpPr>
            <a:spLocks noGrp="1"/>
          </p:cNvSpPr>
          <p:nvPr>
            <p:ph type="title"/>
          </p:nvPr>
        </p:nvSpPr>
        <p:spPr/>
        <p:txBody>
          <a:bodyPr/>
          <a:lstStyle/>
          <a:p>
            <a:endParaRPr lang="nl-NL"/>
          </a:p>
        </p:txBody>
      </p:sp>
      <p:sp>
        <p:nvSpPr>
          <p:cNvPr id="4" name="Content Placeholder 3">
            <a:extLst>
              <a:ext uri="{FF2B5EF4-FFF2-40B4-BE49-F238E27FC236}">
                <a16:creationId xmlns:a16="http://schemas.microsoft.com/office/drawing/2014/main" id="{D91DC5DD-E8F5-4608-A797-7D961CEF6DE8}"/>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59918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oP0NEdmjK4d9sIXKZX2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RSTMuYvbslpD648Htw7S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50</TotalTime>
  <Words>2953</Words>
  <Application>Microsoft Office PowerPoint</Application>
  <PresentationFormat>Widescreen</PresentationFormat>
  <Paragraphs>376</Paragraphs>
  <Slides>45</Slides>
  <Notes>31</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7" baseType="lpstr">
      <vt:lpstr>Arial</vt:lpstr>
      <vt:lpstr>Calibri</vt:lpstr>
      <vt:lpstr>Calibri Light</vt:lpstr>
      <vt:lpstr>Open Sans Light</vt:lpstr>
      <vt:lpstr>Segoe UI</vt:lpstr>
      <vt:lpstr>Segoe UI Black</vt:lpstr>
      <vt:lpstr>Segoe UI Light</vt:lpstr>
      <vt:lpstr>Segoe UI Semibold</vt:lpstr>
      <vt:lpstr>Segoe UI Semilight</vt:lpstr>
      <vt:lpstr>Wingdings</vt:lpstr>
      <vt:lpstr>1_Office Theme</vt:lpstr>
      <vt:lpstr>think-cell Slide</vt:lpstr>
      <vt:lpstr>Take back your time! Let AI do the work for you</vt:lpstr>
      <vt:lpstr>Eldert Grootenboer</vt:lpstr>
      <vt:lpstr>Take back your ti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Rich, WYSIWYG canvas-based authoring</vt:lpstr>
      <vt:lpstr>PowerPoint Presentation</vt:lpstr>
      <vt:lpstr>PowerPoint Presentation</vt:lpstr>
      <vt:lpstr>PowerPoint Presentation</vt:lpstr>
      <vt:lpstr>PowerPoint Presentation</vt:lpstr>
      <vt:lpstr>PowerApps, Flow and Connections</vt:lpstr>
      <vt:lpstr>PowerPoint Presentation</vt:lpstr>
      <vt:lpstr>Low code</vt:lpstr>
      <vt:lpstr>PowerPoint Presentation</vt:lpstr>
      <vt:lpstr>Power Automate</vt:lpstr>
      <vt:lpstr>Power Automate</vt:lpstr>
      <vt:lpstr>PowerPoint Presentation</vt:lpstr>
      <vt:lpstr>AI Builder</vt:lpstr>
      <vt:lpstr>AI Builder</vt:lpstr>
      <vt:lpstr>AI Builder</vt:lpstr>
      <vt:lpstr>PowerPoint Presentation</vt:lpstr>
      <vt:lpstr>Power Automate With Attended and Unattended RPA</vt:lpstr>
      <vt:lpstr>PowerPoint Presentation</vt:lpstr>
      <vt:lpstr>WinAutomation</vt:lpstr>
      <vt:lpstr>The WinAutomation Development Environment</vt:lpstr>
      <vt:lpstr>Power Virtual Agents</vt:lpstr>
      <vt:lpstr>PowerPoint Presentation</vt:lpstr>
      <vt:lpstr>PowerPoint Presentation</vt:lpstr>
      <vt:lpstr>PowerPoint Presentation</vt:lpstr>
      <vt:lpstr>PowerPoint Presentation</vt:lpstr>
      <vt:lpstr>PowerPoint Presentation</vt:lpstr>
      <vt:lpstr>PowerPoint Presentation</vt:lpstr>
      <vt:lpstr>Record with Power Automate Desktop</vt:lpstr>
      <vt:lpstr>Personalize and extend</vt:lpstr>
      <vt:lpstr>More control with Power Automate</vt:lpstr>
      <vt:lpstr>Let AI help you</vt:lpstr>
      <vt:lpstr>Use bots for natural communication</vt:lpstr>
      <vt:lpstr>PowerPoint Presentation</vt:lpstr>
      <vt:lpstr>Power Automate Desktop</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better security for your API platform  Using Azure API Management</dc:title>
  <dc:creator>Eldert Grootenboer</dc:creator>
  <cp:lastModifiedBy>Eldert Grootenboer</cp:lastModifiedBy>
  <cp:revision>1</cp:revision>
  <dcterms:created xsi:type="dcterms:W3CDTF">2020-08-29T14:34:14Z</dcterms:created>
  <dcterms:modified xsi:type="dcterms:W3CDTF">2020-10-01T15:07:52Z</dcterms:modified>
</cp:coreProperties>
</file>